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80" r:id="rId3"/>
    <p:sldMasterId id="2147483883" r:id="rId4"/>
  </p:sldMasterIdLst>
  <p:notesMasterIdLst>
    <p:notesMasterId r:id="rId18"/>
  </p:notesMasterIdLst>
  <p:handoutMasterIdLst>
    <p:handoutMasterId r:id="rId19"/>
  </p:handoutMasterIdLst>
  <p:sldIdLst>
    <p:sldId id="291" r:id="rId5"/>
    <p:sldId id="320" r:id="rId6"/>
    <p:sldId id="265" r:id="rId7"/>
    <p:sldId id="314" r:id="rId8"/>
    <p:sldId id="297" r:id="rId9"/>
    <p:sldId id="321" r:id="rId10"/>
    <p:sldId id="299" r:id="rId11"/>
    <p:sldId id="266" r:id="rId12"/>
    <p:sldId id="303" r:id="rId13"/>
    <p:sldId id="305" r:id="rId14"/>
    <p:sldId id="302" r:id="rId15"/>
    <p:sldId id="379" r:id="rId16"/>
    <p:sldId id="378" r:id="rId17"/>
  </p:sldIdLst>
  <p:sldSz cx="12192000" cy="6858000"/>
  <p:notesSz cx="6858000" cy="9144000"/>
  <p:custDataLst>
    <p:tags r:id="rId2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D23C00"/>
    <a:srgbClr val="FF6327"/>
    <a:srgbClr val="7E39BA"/>
    <a:srgbClr val="01D1D0"/>
    <a:srgbClr val="E6E7E7"/>
    <a:srgbClr val="7F7F7F"/>
    <a:srgbClr val="6D64CC"/>
    <a:srgbClr val="4701A7"/>
    <a:srgbClr val="C8FF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173" autoAdjust="0"/>
    <p:restoredTop sz="95540" autoAdjust="0"/>
  </p:normalViewPr>
  <p:slideViewPr>
    <p:cSldViewPr>
      <p:cViewPr varScale="1">
        <p:scale>
          <a:sx n="88" d="100"/>
          <a:sy n="88" d="100"/>
        </p:scale>
        <p:origin x="461" y="7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9" d="100"/>
          <a:sy n="79" d="100"/>
        </p:scale>
        <p:origin x="2352" y="7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76">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160D3D4-613A-4519-A481-F89ADD5F7320}" type="doc">
      <dgm:prSet loTypeId="urn:microsoft.com/office/officeart/2005/8/layout/pyramid1" loCatId="pyramid" qsTypeId="urn:microsoft.com/office/officeart/2005/8/quickstyle/simple1" qsCatId="simple" csTypeId="urn:microsoft.com/office/officeart/2005/8/colors/accent5_3" csCatId="accent5" phldr="1"/>
      <dgm:spPr/>
    </dgm:pt>
    <dgm:pt modelId="{F7E37FBC-8099-4DB3-B4F8-DBDE0DCEC1D7}">
      <dgm:prSet phldrT="[Text]" custT="1"/>
      <dgm:spPr/>
      <dgm:t>
        <a:bodyPr/>
        <a:lstStyle/>
        <a:p>
          <a:br>
            <a:rPr lang="pl-PL" sz="2400"/>
          </a:br>
          <a:r>
            <a:rPr lang="en-US" sz="2400" dirty="0"/>
            <a:t>UI</a:t>
          </a:r>
        </a:p>
      </dgm:t>
    </dgm:pt>
    <dgm:pt modelId="{4DE24ECE-3EB3-4587-A9D2-7675F7253B81}" type="parTrans" cxnId="{523B1973-54E8-4340-8BEC-4990CC12CCAB}">
      <dgm:prSet/>
      <dgm:spPr/>
      <dgm:t>
        <a:bodyPr/>
        <a:lstStyle/>
        <a:p>
          <a:endParaRPr lang="en-US" sz="3200"/>
        </a:p>
      </dgm:t>
    </dgm:pt>
    <dgm:pt modelId="{A4184C1B-393D-4ED0-B75D-4EBB166314F0}" type="sibTrans" cxnId="{523B1973-54E8-4340-8BEC-4990CC12CCAB}">
      <dgm:prSet/>
      <dgm:spPr/>
      <dgm:t>
        <a:bodyPr/>
        <a:lstStyle/>
        <a:p>
          <a:endParaRPr lang="en-US" sz="3200"/>
        </a:p>
      </dgm:t>
    </dgm:pt>
    <dgm:pt modelId="{6ED7E280-935A-4740-AB58-C0FAE580BFA8}">
      <dgm:prSet phldrT="[Text]" custT="1"/>
      <dgm:spPr/>
      <dgm:t>
        <a:bodyPr/>
        <a:lstStyle/>
        <a:p>
          <a:r>
            <a:rPr lang="en-US" sz="2400" dirty="0"/>
            <a:t>API</a:t>
          </a:r>
        </a:p>
      </dgm:t>
    </dgm:pt>
    <dgm:pt modelId="{5557C28B-0EA8-4FB7-83D5-63A8425867B0}" type="parTrans" cxnId="{C8800816-4F59-4A4E-935C-FBF3F6068543}">
      <dgm:prSet/>
      <dgm:spPr/>
      <dgm:t>
        <a:bodyPr/>
        <a:lstStyle/>
        <a:p>
          <a:endParaRPr lang="en-US" sz="3200"/>
        </a:p>
      </dgm:t>
    </dgm:pt>
    <dgm:pt modelId="{B82D1D0A-4B79-4939-A9FC-741F1AD7AD1B}" type="sibTrans" cxnId="{C8800816-4F59-4A4E-935C-FBF3F6068543}">
      <dgm:prSet/>
      <dgm:spPr/>
      <dgm:t>
        <a:bodyPr/>
        <a:lstStyle/>
        <a:p>
          <a:endParaRPr lang="en-US" sz="3200"/>
        </a:p>
      </dgm:t>
    </dgm:pt>
    <dgm:pt modelId="{40285531-BAEE-43E6-BBD4-8249575B1878}">
      <dgm:prSet phldrT="[Text]" custT="1"/>
      <dgm:spPr/>
      <dgm:t>
        <a:bodyPr/>
        <a:lstStyle/>
        <a:p>
          <a:r>
            <a:rPr lang="en-US" sz="2400" dirty="0"/>
            <a:t>Backend</a:t>
          </a:r>
        </a:p>
      </dgm:t>
    </dgm:pt>
    <dgm:pt modelId="{02C1CD83-DAFB-41CF-8A55-71BDDE805E6F}" type="parTrans" cxnId="{43B32424-97BD-4835-930A-AAF69C57FCAF}">
      <dgm:prSet/>
      <dgm:spPr/>
      <dgm:t>
        <a:bodyPr/>
        <a:lstStyle/>
        <a:p>
          <a:endParaRPr lang="en-US" sz="3200"/>
        </a:p>
      </dgm:t>
    </dgm:pt>
    <dgm:pt modelId="{A3A07BDC-2C6D-43A8-9A05-A9E100E8AB15}" type="sibTrans" cxnId="{43B32424-97BD-4835-930A-AAF69C57FCAF}">
      <dgm:prSet/>
      <dgm:spPr/>
      <dgm:t>
        <a:bodyPr/>
        <a:lstStyle/>
        <a:p>
          <a:endParaRPr lang="en-US" sz="3200"/>
        </a:p>
      </dgm:t>
    </dgm:pt>
    <dgm:pt modelId="{891CA3F0-A4E4-43F8-949C-180B2AB3BCFE}" type="pres">
      <dgm:prSet presAssocID="{6160D3D4-613A-4519-A481-F89ADD5F7320}" presName="Name0" presStyleCnt="0">
        <dgm:presLayoutVars>
          <dgm:dir/>
          <dgm:animLvl val="lvl"/>
          <dgm:resizeHandles val="exact"/>
        </dgm:presLayoutVars>
      </dgm:prSet>
      <dgm:spPr/>
    </dgm:pt>
    <dgm:pt modelId="{24A053E9-ED32-40AA-8B2A-BD33F0C11AE2}" type="pres">
      <dgm:prSet presAssocID="{F7E37FBC-8099-4DB3-B4F8-DBDE0DCEC1D7}" presName="Name8" presStyleCnt="0"/>
      <dgm:spPr/>
    </dgm:pt>
    <dgm:pt modelId="{9BFA4AC6-E825-4477-B889-F9C66C1195B8}" type="pres">
      <dgm:prSet presAssocID="{F7E37FBC-8099-4DB3-B4F8-DBDE0DCEC1D7}" presName="level" presStyleLbl="node1" presStyleIdx="0" presStyleCnt="3">
        <dgm:presLayoutVars>
          <dgm:chMax val="1"/>
          <dgm:bulletEnabled val="1"/>
        </dgm:presLayoutVars>
      </dgm:prSet>
      <dgm:spPr/>
    </dgm:pt>
    <dgm:pt modelId="{7008F9DC-B4CA-4C47-ACF8-16602824A142}" type="pres">
      <dgm:prSet presAssocID="{F7E37FBC-8099-4DB3-B4F8-DBDE0DCEC1D7}" presName="levelTx" presStyleLbl="revTx" presStyleIdx="0" presStyleCnt="0">
        <dgm:presLayoutVars>
          <dgm:chMax val="1"/>
          <dgm:bulletEnabled val="1"/>
        </dgm:presLayoutVars>
      </dgm:prSet>
      <dgm:spPr/>
    </dgm:pt>
    <dgm:pt modelId="{141F8D72-3F15-4CC5-95F4-F3EA15242490}" type="pres">
      <dgm:prSet presAssocID="{6ED7E280-935A-4740-AB58-C0FAE580BFA8}" presName="Name8" presStyleCnt="0"/>
      <dgm:spPr/>
    </dgm:pt>
    <dgm:pt modelId="{3DF1A04F-9824-4FA2-8E9B-69197A34DB02}" type="pres">
      <dgm:prSet presAssocID="{6ED7E280-935A-4740-AB58-C0FAE580BFA8}" presName="level" presStyleLbl="node1" presStyleIdx="1" presStyleCnt="3">
        <dgm:presLayoutVars>
          <dgm:chMax val="1"/>
          <dgm:bulletEnabled val="1"/>
        </dgm:presLayoutVars>
      </dgm:prSet>
      <dgm:spPr/>
    </dgm:pt>
    <dgm:pt modelId="{B615F79F-706C-4309-9FFC-D94774F354E8}" type="pres">
      <dgm:prSet presAssocID="{6ED7E280-935A-4740-AB58-C0FAE580BFA8}" presName="levelTx" presStyleLbl="revTx" presStyleIdx="0" presStyleCnt="0">
        <dgm:presLayoutVars>
          <dgm:chMax val="1"/>
          <dgm:bulletEnabled val="1"/>
        </dgm:presLayoutVars>
      </dgm:prSet>
      <dgm:spPr/>
    </dgm:pt>
    <dgm:pt modelId="{6B315756-5F49-4E5C-B814-8281ACC31042}" type="pres">
      <dgm:prSet presAssocID="{40285531-BAEE-43E6-BBD4-8249575B1878}" presName="Name8" presStyleCnt="0"/>
      <dgm:spPr/>
    </dgm:pt>
    <dgm:pt modelId="{D9074314-C21A-447C-9E4D-59C6F495C412}" type="pres">
      <dgm:prSet presAssocID="{40285531-BAEE-43E6-BBD4-8249575B1878}" presName="level" presStyleLbl="node1" presStyleIdx="2" presStyleCnt="3">
        <dgm:presLayoutVars>
          <dgm:chMax val="1"/>
          <dgm:bulletEnabled val="1"/>
        </dgm:presLayoutVars>
      </dgm:prSet>
      <dgm:spPr/>
    </dgm:pt>
    <dgm:pt modelId="{9A3F85C7-0AE1-424E-8646-B4248B01294E}" type="pres">
      <dgm:prSet presAssocID="{40285531-BAEE-43E6-BBD4-8249575B1878}" presName="levelTx" presStyleLbl="revTx" presStyleIdx="0" presStyleCnt="0">
        <dgm:presLayoutVars>
          <dgm:chMax val="1"/>
          <dgm:bulletEnabled val="1"/>
        </dgm:presLayoutVars>
      </dgm:prSet>
      <dgm:spPr/>
    </dgm:pt>
  </dgm:ptLst>
  <dgm:cxnLst>
    <dgm:cxn modelId="{C8800816-4F59-4A4E-935C-FBF3F6068543}" srcId="{6160D3D4-613A-4519-A481-F89ADD5F7320}" destId="{6ED7E280-935A-4740-AB58-C0FAE580BFA8}" srcOrd="1" destOrd="0" parTransId="{5557C28B-0EA8-4FB7-83D5-63A8425867B0}" sibTransId="{B82D1D0A-4B79-4939-A9FC-741F1AD7AD1B}"/>
    <dgm:cxn modelId="{43B32424-97BD-4835-930A-AAF69C57FCAF}" srcId="{6160D3D4-613A-4519-A481-F89ADD5F7320}" destId="{40285531-BAEE-43E6-BBD4-8249575B1878}" srcOrd="2" destOrd="0" parTransId="{02C1CD83-DAFB-41CF-8A55-71BDDE805E6F}" sibTransId="{A3A07BDC-2C6D-43A8-9A05-A9E100E8AB15}"/>
    <dgm:cxn modelId="{DCB00E39-45B0-4E69-A085-E493DE4D6F10}" type="presOf" srcId="{F7E37FBC-8099-4DB3-B4F8-DBDE0DCEC1D7}" destId="{7008F9DC-B4CA-4C47-ACF8-16602824A142}" srcOrd="1" destOrd="0" presId="urn:microsoft.com/office/officeart/2005/8/layout/pyramid1"/>
    <dgm:cxn modelId="{62456561-0FA9-41F7-9BEA-AEBA51E9C230}" type="presOf" srcId="{40285531-BAEE-43E6-BBD4-8249575B1878}" destId="{D9074314-C21A-447C-9E4D-59C6F495C412}" srcOrd="0" destOrd="0" presId="urn:microsoft.com/office/officeart/2005/8/layout/pyramid1"/>
    <dgm:cxn modelId="{3F391467-94C9-4622-A241-B0B969CE31FF}" type="presOf" srcId="{6160D3D4-613A-4519-A481-F89ADD5F7320}" destId="{891CA3F0-A4E4-43F8-949C-180B2AB3BCFE}" srcOrd="0" destOrd="0" presId="urn:microsoft.com/office/officeart/2005/8/layout/pyramid1"/>
    <dgm:cxn modelId="{363C1752-9116-4B27-969F-967B869456AD}" type="presOf" srcId="{6ED7E280-935A-4740-AB58-C0FAE580BFA8}" destId="{B615F79F-706C-4309-9FFC-D94774F354E8}" srcOrd="1" destOrd="0" presId="urn:microsoft.com/office/officeart/2005/8/layout/pyramid1"/>
    <dgm:cxn modelId="{523B1973-54E8-4340-8BEC-4990CC12CCAB}" srcId="{6160D3D4-613A-4519-A481-F89ADD5F7320}" destId="{F7E37FBC-8099-4DB3-B4F8-DBDE0DCEC1D7}" srcOrd="0" destOrd="0" parTransId="{4DE24ECE-3EB3-4587-A9D2-7675F7253B81}" sibTransId="{A4184C1B-393D-4ED0-B75D-4EBB166314F0}"/>
    <dgm:cxn modelId="{7C041B9D-F412-402C-860A-111E54F17609}" type="presOf" srcId="{40285531-BAEE-43E6-BBD4-8249575B1878}" destId="{9A3F85C7-0AE1-424E-8646-B4248B01294E}" srcOrd="1" destOrd="0" presId="urn:microsoft.com/office/officeart/2005/8/layout/pyramid1"/>
    <dgm:cxn modelId="{BAC19E9F-F7AD-4900-8D3D-5266E169D150}" type="presOf" srcId="{F7E37FBC-8099-4DB3-B4F8-DBDE0DCEC1D7}" destId="{9BFA4AC6-E825-4477-B889-F9C66C1195B8}" srcOrd="0" destOrd="0" presId="urn:microsoft.com/office/officeart/2005/8/layout/pyramid1"/>
    <dgm:cxn modelId="{CCCE41B6-4F52-47A5-A87C-960CD08A4969}" type="presOf" srcId="{6ED7E280-935A-4740-AB58-C0FAE580BFA8}" destId="{3DF1A04F-9824-4FA2-8E9B-69197A34DB02}" srcOrd="0" destOrd="0" presId="urn:microsoft.com/office/officeart/2005/8/layout/pyramid1"/>
    <dgm:cxn modelId="{0C4C987D-11A8-4C22-93AE-593DF0447F31}" type="presParOf" srcId="{891CA3F0-A4E4-43F8-949C-180B2AB3BCFE}" destId="{24A053E9-ED32-40AA-8B2A-BD33F0C11AE2}" srcOrd="0" destOrd="0" presId="urn:microsoft.com/office/officeart/2005/8/layout/pyramid1"/>
    <dgm:cxn modelId="{7A5E5B50-5D9B-4BAB-90AB-82CBEF669AB9}" type="presParOf" srcId="{24A053E9-ED32-40AA-8B2A-BD33F0C11AE2}" destId="{9BFA4AC6-E825-4477-B889-F9C66C1195B8}" srcOrd="0" destOrd="0" presId="urn:microsoft.com/office/officeart/2005/8/layout/pyramid1"/>
    <dgm:cxn modelId="{0D7D8533-D865-46FC-B6CC-E767F836B98A}" type="presParOf" srcId="{24A053E9-ED32-40AA-8B2A-BD33F0C11AE2}" destId="{7008F9DC-B4CA-4C47-ACF8-16602824A142}" srcOrd="1" destOrd="0" presId="urn:microsoft.com/office/officeart/2005/8/layout/pyramid1"/>
    <dgm:cxn modelId="{5783AB46-6B68-4BA4-A0B5-F720AB39977D}" type="presParOf" srcId="{891CA3F0-A4E4-43F8-949C-180B2AB3BCFE}" destId="{141F8D72-3F15-4CC5-95F4-F3EA15242490}" srcOrd="1" destOrd="0" presId="urn:microsoft.com/office/officeart/2005/8/layout/pyramid1"/>
    <dgm:cxn modelId="{5CD84C0A-896C-4CBB-8802-2F5759ADDCC8}" type="presParOf" srcId="{141F8D72-3F15-4CC5-95F4-F3EA15242490}" destId="{3DF1A04F-9824-4FA2-8E9B-69197A34DB02}" srcOrd="0" destOrd="0" presId="urn:microsoft.com/office/officeart/2005/8/layout/pyramid1"/>
    <dgm:cxn modelId="{030E836D-82B4-42CE-8D10-8F1FEE50545B}" type="presParOf" srcId="{141F8D72-3F15-4CC5-95F4-F3EA15242490}" destId="{B615F79F-706C-4309-9FFC-D94774F354E8}" srcOrd="1" destOrd="0" presId="urn:microsoft.com/office/officeart/2005/8/layout/pyramid1"/>
    <dgm:cxn modelId="{F75B5DDF-D32A-4E8D-94BA-EFE3B67BD23B}" type="presParOf" srcId="{891CA3F0-A4E4-43F8-949C-180B2AB3BCFE}" destId="{6B315756-5F49-4E5C-B814-8281ACC31042}" srcOrd="2" destOrd="0" presId="urn:microsoft.com/office/officeart/2005/8/layout/pyramid1"/>
    <dgm:cxn modelId="{D2C7B38F-3E67-4606-AE00-ADB08E2AE826}" type="presParOf" srcId="{6B315756-5F49-4E5C-B814-8281ACC31042}" destId="{D9074314-C21A-447C-9E4D-59C6F495C412}" srcOrd="0" destOrd="0" presId="urn:microsoft.com/office/officeart/2005/8/layout/pyramid1"/>
    <dgm:cxn modelId="{61FED245-8276-44B2-9D47-0790CA08CEF0}" type="presParOf" srcId="{6B315756-5F49-4E5C-B814-8281ACC31042}" destId="{9A3F85C7-0AE1-424E-8646-B4248B01294E}" srcOrd="1" destOrd="0" presId="urn:microsoft.com/office/officeart/2005/8/layout/pyramid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B9C32B05-62EA-407A-B21C-2310C7945705}" type="doc">
      <dgm:prSet loTypeId="urn:microsoft.com/office/officeart/2005/8/layout/architecture" loCatId="list" qsTypeId="urn:microsoft.com/office/officeart/2005/8/quickstyle/simple4" qsCatId="simple" csTypeId="urn:microsoft.com/office/officeart/2005/8/colors/colorful2" csCatId="colorful" phldr="1"/>
      <dgm:spPr/>
      <dgm:t>
        <a:bodyPr/>
        <a:lstStyle/>
        <a:p>
          <a:endParaRPr lang="en-US"/>
        </a:p>
      </dgm:t>
    </dgm:pt>
    <dgm:pt modelId="{42D71409-67F9-455C-8C6D-716D284AAA6B}">
      <dgm:prSet phldrT="[Text]"/>
      <dgm:spPr/>
      <dgm:t>
        <a:bodyPr/>
        <a:lstStyle/>
        <a:p>
          <a:r>
            <a:rPr lang="en-US" noProof="0" dirty="0"/>
            <a:t>Database module</a:t>
          </a:r>
        </a:p>
      </dgm:t>
    </dgm:pt>
    <dgm:pt modelId="{51680ED1-AF6E-4B28-AE94-92B0EFB0DF7D}" type="parTrans" cxnId="{2AA9C11F-1F1D-428E-801A-47EAA766C99D}">
      <dgm:prSet/>
      <dgm:spPr/>
      <dgm:t>
        <a:bodyPr/>
        <a:lstStyle/>
        <a:p>
          <a:endParaRPr lang="en-US"/>
        </a:p>
      </dgm:t>
    </dgm:pt>
    <dgm:pt modelId="{478B7D3C-9FB4-4BC6-90AC-49960560DECD}" type="sibTrans" cxnId="{2AA9C11F-1F1D-428E-801A-47EAA766C99D}">
      <dgm:prSet/>
      <dgm:spPr/>
      <dgm:t>
        <a:bodyPr/>
        <a:lstStyle/>
        <a:p>
          <a:endParaRPr lang="en-US"/>
        </a:p>
      </dgm:t>
    </dgm:pt>
    <dgm:pt modelId="{09BA98DE-DEC2-4D0D-8490-D3297BBF0088}">
      <dgm:prSet phldrT="[Text]"/>
      <dgm:spPr/>
      <dgm:t>
        <a:bodyPr/>
        <a:lstStyle/>
        <a:p>
          <a:r>
            <a:rPr lang="en-US" noProof="0" dirty="0"/>
            <a:t>WebAPI module</a:t>
          </a:r>
        </a:p>
      </dgm:t>
    </dgm:pt>
    <dgm:pt modelId="{8E89657A-9899-4663-8EBD-CE951A955DD5}" type="parTrans" cxnId="{B74A69C1-DB0A-4823-ABB8-FD9F97D1DF87}">
      <dgm:prSet/>
      <dgm:spPr/>
      <dgm:t>
        <a:bodyPr/>
        <a:lstStyle/>
        <a:p>
          <a:endParaRPr lang="en-US"/>
        </a:p>
      </dgm:t>
    </dgm:pt>
    <dgm:pt modelId="{D9604DA3-0B95-413D-AA9C-D75798C0FF52}" type="sibTrans" cxnId="{B74A69C1-DB0A-4823-ABB8-FD9F97D1DF87}">
      <dgm:prSet/>
      <dgm:spPr/>
      <dgm:t>
        <a:bodyPr/>
        <a:lstStyle/>
        <a:p>
          <a:endParaRPr lang="en-US"/>
        </a:p>
      </dgm:t>
    </dgm:pt>
    <dgm:pt modelId="{A7376EC0-5FEA-48A4-B284-B453C867CA4F}">
      <dgm:prSet phldrT="[Text]"/>
      <dgm:spPr>
        <a:solidFill>
          <a:srgbClr val="D23C00"/>
        </a:solidFill>
      </dgm:spPr>
      <dgm:t>
        <a:bodyPr/>
        <a:lstStyle/>
        <a:p>
          <a:r>
            <a:rPr lang="en-US" b="1" noProof="0" dirty="0"/>
            <a:t>Browser</a:t>
          </a:r>
          <a:br>
            <a:rPr lang="en-US" b="1" noProof="0" dirty="0"/>
          </a:br>
          <a:br>
            <a:rPr lang="en-US" b="1" noProof="0" dirty="0"/>
          </a:br>
          <a:r>
            <a:rPr lang="en-US" b="0" noProof="0" dirty="0"/>
            <a:t>(Selenium) </a:t>
          </a:r>
          <a:br>
            <a:rPr lang="en-US" noProof="0" dirty="0"/>
          </a:br>
          <a:r>
            <a:rPr lang="en-US" noProof="0" dirty="0"/>
            <a:t>UI module               Grid</a:t>
          </a:r>
        </a:p>
      </dgm:t>
    </dgm:pt>
    <dgm:pt modelId="{D8387D70-E1F9-4B42-8EE4-B3BED889F64B}" type="parTrans" cxnId="{AC431E10-8495-40FC-AE68-1DE0241390B0}">
      <dgm:prSet/>
      <dgm:spPr/>
      <dgm:t>
        <a:bodyPr/>
        <a:lstStyle/>
        <a:p>
          <a:endParaRPr lang="en-US"/>
        </a:p>
      </dgm:t>
    </dgm:pt>
    <dgm:pt modelId="{620F1AE9-67A6-43E4-8D4E-A7556D36F8F8}" type="sibTrans" cxnId="{AC431E10-8495-40FC-AE68-1DE0241390B0}">
      <dgm:prSet/>
      <dgm:spPr/>
      <dgm:t>
        <a:bodyPr/>
        <a:lstStyle/>
        <a:p>
          <a:endParaRPr lang="en-US"/>
        </a:p>
      </dgm:t>
    </dgm:pt>
    <dgm:pt modelId="{589892E1-7E9A-4ED2-9A00-ECF59CD9E4E2}">
      <dgm:prSet phldrT="[Text]"/>
      <dgm:spPr>
        <a:solidFill>
          <a:srgbClr val="D23C00"/>
        </a:solidFill>
      </dgm:spPr>
      <dgm:t>
        <a:bodyPr/>
        <a:lstStyle/>
        <a:p>
          <a:r>
            <a:rPr lang="en-US" b="1" noProof="0" dirty="0"/>
            <a:t>Mobile</a:t>
          </a:r>
          <a:br>
            <a:rPr lang="en-US" noProof="0" dirty="0"/>
          </a:br>
          <a:r>
            <a:rPr lang="en-US" noProof="0" dirty="0"/>
            <a:t> </a:t>
          </a:r>
          <a:br>
            <a:rPr lang="en-US" noProof="0" dirty="0"/>
          </a:br>
          <a:r>
            <a:rPr lang="en-US" noProof="0" dirty="0"/>
            <a:t>(Appium) app</a:t>
          </a:r>
          <a:r>
            <a:rPr lang="de-DE" noProof="0" dirty="0"/>
            <a:t>       </a:t>
          </a:r>
          <a:r>
            <a:rPr lang="en-US" noProof="0" dirty="0"/>
            <a:t>Grid</a:t>
          </a:r>
        </a:p>
      </dgm:t>
    </dgm:pt>
    <dgm:pt modelId="{6298D63F-CF36-4C9A-B1AF-B6EC065B8542}" type="parTrans" cxnId="{D68E50A4-4DE3-4F5D-92C6-F68E47329EAA}">
      <dgm:prSet/>
      <dgm:spPr/>
      <dgm:t>
        <a:bodyPr/>
        <a:lstStyle/>
        <a:p>
          <a:endParaRPr lang="en-US"/>
        </a:p>
      </dgm:t>
    </dgm:pt>
    <dgm:pt modelId="{6E27F27E-66F1-4C1C-AB5B-DE1A342F5B80}" type="sibTrans" cxnId="{D68E50A4-4DE3-4F5D-92C6-F68E47329EAA}">
      <dgm:prSet/>
      <dgm:spPr/>
      <dgm:t>
        <a:bodyPr/>
        <a:lstStyle/>
        <a:p>
          <a:endParaRPr lang="en-US"/>
        </a:p>
      </dgm:t>
    </dgm:pt>
    <dgm:pt modelId="{16B3806B-317F-41B0-ABDF-7267C80EC3B2}">
      <dgm:prSet phldrT="[Text]"/>
      <dgm:spPr>
        <a:solidFill>
          <a:srgbClr val="D23C00"/>
        </a:solidFill>
      </dgm:spPr>
      <dgm:t>
        <a:bodyPr/>
        <a:lstStyle/>
        <a:p>
          <a:r>
            <a:rPr lang="en-US" b="1" noProof="0" dirty="0"/>
            <a:t>Standalone</a:t>
          </a:r>
          <a:br>
            <a:rPr lang="en-US" b="1" noProof="0" dirty="0"/>
          </a:br>
          <a:br>
            <a:rPr lang="en-US" b="1" noProof="0" dirty="0"/>
          </a:br>
          <a:r>
            <a:rPr lang="en-US" noProof="0" dirty="0"/>
            <a:t> Application</a:t>
          </a:r>
        </a:p>
      </dgm:t>
    </dgm:pt>
    <dgm:pt modelId="{97DC8A9B-CFD6-40D1-A1ED-398BABE06067}" type="parTrans" cxnId="{5A200011-DE1C-4E4A-8F4A-4D5AD08EE3A9}">
      <dgm:prSet/>
      <dgm:spPr/>
      <dgm:t>
        <a:bodyPr/>
        <a:lstStyle/>
        <a:p>
          <a:endParaRPr lang="en-US"/>
        </a:p>
      </dgm:t>
    </dgm:pt>
    <dgm:pt modelId="{C1409865-ED18-41BE-9B28-662D81AEEE4F}" type="sibTrans" cxnId="{5A200011-DE1C-4E4A-8F4A-4D5AD08EE3A9}">
      <dgm:prSet/>
      <dgm:spPr/>
      <dgm:t>
        <a:bodyPr/>
        <a:lstStyle/>
        <a:p>
          <a:endParaRPr lang="en-US"/>
        </a:p>
      </dgm:t>
    </dgm:pt>
    <dgm:pt modelId="{8E346F4D-76A2-462D-9B44-3650FB2B405C}">
      <dgm:prSet phldrT="[Text]"/>
      <dgm:spPr>
        <a:solidFill>
          <a:srgbClr val="6A9529"/>
        </a:solidFill>
      </dgm:spPr>
      <dgm:t>
        <a:bodyPr/>
        <a:lstStyle/>
        <a:p>
          <a:r>
            <a:rPr lang="en-US" noProof="0" dirty="0"/>
            <a:t>Security module</a:t>
          </a:r>
        </a:p>
      </dgm:t>
    </dgm:pt>
    <dgm:pt modelId="{3F230114-3CC0-45DF-9870-044520BC28C8}" type="parTrans" cxnId="{1D76C90C-838C-4330-B04F-05BE873D410F}">
      <dgm:prSet/>
      <dgm:spPr/>
      <dgm:t>
        <a:bodyPr/>
        <a:lstStyle/>
        <a:p>
          <a:endParaRPr lang="en-US"/>
        </a:p>
      </dgm:t>
    </dgm:pt>
    <dgm:pt modelId="{0F905974-FF65-435B-B2DD-FBC8F1A908F0}" type="sibTrans" cxnId="{1D76C90C-838C-4330-B04F-05BE873D410F}">
      <dgm:prSet/>
      <dgm:spPr/>
      <dgm:t>
        <a:bodyPr/>
        <a:lstStyle/>
        <a:p>
          <a:endParaRPr lang="en-US"/>
        </a:p>
      </dgm:t>
    </dgm:pt>
    <dgm:pt modelId="{6733E3A7-9EE4-4EFF-B65C-61E0B126E302}">
      <dgm:prSet phldrT="[Text]"/>
      <dgm:spPr>
        <a:solidFill>
          <a:srgbClr val="0085B3"/>
        </a:solidFill>
      </dgm:spPr>
      <dgm:t>
        <a:bodyPr/>
        <a:lstStyle/>
        <a:p>
          <a:r>
            <a:rPr lang="en-US" noProof="0" dirty="0"/>
            <a:t>DevOps module</a:t>
          </a:r>
        </a:p>
      </dgm:t>
    </dgm:pt>
    <dgm:pt modelId="{3D98FF0D-B7EB-42FA-8A0C-F97A740C5CC2}" type="parTrans" cxnId="{C4B3FED4-3336-4139-911B-D057D16A48F5}">
      <dgm:prSet/>
      <dgm:spPr/>
      <dgm:t>
        <a:bodyPr/>
        <a:lstStyle/>
        <a:p>
          <a:endParaRPr lang="en-US"/>
        </a:p>
      </dgm:t>
    </dgm:pt>
    <dgm:pt modelId="{C64997DC-0FAE-46D2-807A-F0C151BFA135}" type="sibTrans" cxnId="{C4B3FED4-3336-4139-911B-D057D16A48F5}">
      <dgm:prSet/>
      <dgm:spPr/>
      <dgm:t>
        <a:bodyPr/>
        <a:lstStyle/>
        <a:p>
          <a:endParaRPr lang="en-US"/>
        </a:p>
      </dgm:t>
    </dgm:pt>
    <dgm:pt modelId="{9A65ADEB-F1B5-411F-B9AC-B64E8E60B070}">
      <dgm:prSet phldrT="[Text]"/>
      <dgm:spPr>
        <a:solidFill>
          <a:srgbClr val="0085B3"/>
        </a:solidFill>
      </dgm:spPr>
      <dgm:t>
        <a:bodyPr/>
        <a:lstStyle/>
        <a:p>
          <a:r>
            <a:rPr lang="en-US" noProof="0" dirty="0"/>
            <a:t>Test core module</a:t>
          </a:r>
        </a:p>
      </dgm:t>
    </dgm:pt>
    <dgm:pt modelId="{124EE3FC-3289-4868-83FD-BB361276B47E}" type="parTrans" cxnId="{6933AB0D-D526-4683-90E6-DBCAD5B13CA0}">
      <dgm:prSet/>
      <dgm:spPr/>
      <dgm:t>
        <a:bodyPr/>
        <a:lstStyle/>
        <a:p>
          <a:endParaRPr lang="en-US"/>
        </a:p>
      </dgm:t>
    </dgm:pt>
    <dgm:pt modelId="{80E8A97E-4D14-4268-B043-8933A19483DA}" type="sibTrans" cxnId="{6933AB0D-D526-4683-90E6-DBCAD5B13CA0}">
      <dgm:prSet/>
      <dgm:spPr/>
      <dgm:t>
        <a:bodyPr/>
        <a:lstStyle/>
        <a:p>
          <a:endParaRPr lang="en-US"/>
        </a:p>
      </dgm:t>
    </dgm:pt>
    <dgm:pt modelId="{2B2119DE-9C5F-42BD-90CA-B1F7EF735AF4}" type="pres">
      <dgm:prSet presAssocID="{B9C32B05-62EA-407A-B21C-2310C7945705}" presName="Name0" presStyleCnt="0">
        <dgm:presLayoutVars>
          <dgm:chPref val="1"/>
          <dgm:dir/>
          <dgm:animOne val="branch"/>
          <dgm:animLvl val="lvl"/>
          <dgm:resizeHandles/>
        </dgm:presLayoutVars>
      </dgm:prSet>
      <dgm:spPr/>
    </dgm:pt>
    <dgm:pt modelId="{7B9E2D6A-8969-4EEC-85C2-615B86E0B196}" type="pres">
      <dgm:prSet presAssocID="{42D71409-67F9-455C-8C6D-716D284AAA6B}" presName="vertOne" presStyleCnt="0"/>
      <dgm:spPr/>
    </dgm:pt>
    <dgm:pt modelId="{034D588B-2C5E-413E-8FB3-A45A598FE77E}" type="pres">
      <dgm:prSet presAssocID="{42D71409-67F9-455C-8C6D-716D284AAA6B}" presName="txOne" presStyleLbl="node0" presStyleIdx="0" presStyleCnt="3">
        <dgm:presLayoutVars>
          <dgm:chPref val="3"/>
        </dgm:presLayoutVars>
      </dgm:prSet>
      <dgm:spPr/>
    </dgm:pt>
    <dgm:pt modelId="{155C8750-CD3F-4EED-8869-852B83F3E2B4}" type="pres">
      <dgm:prSet presAssocID="{42D71409-67F9-455C-8C6D-716D284AAA6B}" presName="parTransOne" presStyleCnt="0"/>
      <dgm:spPr/>
    </dgm:pt>
    <dgm:pt modelId="{782F8E29-E0AF-4190-B2CF-FA75DA3E0DD3}" type="pres">
      <dgm:prSet presAssocID="{42D71409-67F9-455C-8C6D-716D284AAA6B}" presName="horzOne" presStyleCnt="0"/>
      <dgm:spPr/>
    </dgm:pt>
    <dgm:pt modelId="{DA72A51A-2648-42DA-A6F5-1368068F74F5}" type="pres">
      <dgm:prSet presAssocID="{8E346F4D-76A2-462D-9B44-3650FB2B405C}" presName="vertTwo" presStyleCnt="0"/>
      <dgm:spPr/>
    </dgm:pt>
    <dgm:pt modelId="{CDB456C7-FEB2-4189-8DB4-859E0B913BE7}" type="pres">
      <dgm:prSet presAssocID="{8E346F4D-76A2-462D-9B44-3650FB2B405C}" presName="txTwo" presStyleLbl="node2" presStyleIdx="0" presStyleCnt="2" custScaleY="205355" custLinFactX="200000" custLinFactNeighborX="201515" custLinFactNeighborY="1925">
        <dgm:presLayoutVars>
          <dgm:chPref val="3"/>
        </dgm:presLayoutVars>
      </dgm:prSet>
      <dgm:spPr/>
    </dgm:pt>
    <dgm:pt modelId="{665A94F3-AC2E-440A-90D8-6366FA2C472B}" type="pres">
      <dgm:prSet presAssocID="{8E346F4D-76A2-462D-9B44-3650FB2B405C}" presName="horzTwo" presStyleCnt="0"/>
      <dgm:spPr/>
    </dgm:pt>
    <dgm:pt modelId="{E8E6822D-8E60-479F-9744-0822855A4470}" type="pres">
      <dgm:prSet presAssocID="{0F905974-FF65-435B-B2DD-FBC8F1A908F0}" presName="sibSpaceTwo" presStyleCnt="0"/>
      <dgm:spPr/>
    </dgm:pt>
    <dgm:pt modelId="{1DEC18CE-0974-4E7A-AE22-5B53857D08A5}" type="pres">
      <dgm:prSet presAssocID="{09BA98DE-DEC2-4D0D-8490-D3297BBF0088}" presName="vertTwo" presStyleCnt="0"/>
      <dgm:spPr/>
    </dgm:pt>
    <dgm:pt modelId="{79946D67-CF20-4533-873C-9747C402A031}" type="pres">
      <dgm:prSet presAssocID="{09BA98DE-DEC2-4D0D-8490-D3297BBF0088}" presName="txTwo" presStyleLbl="node2" presStyleIdx="1" presStyleCnt="2" custScaleX="101726" custLinFactNeighborX="-27838" custLinFactNeighborY="25308">
        <dgm:presLayoutVars>
          <dgm:chPref val="3"/>
        </dgm:presLayoutVars>
      </dgm:prSet>
      <dgm:spPr/>
    </dgm:pt>
    <dgm:pt modelId="{11A9DFF6-0FBF-42E2-AC9E-E9078967B9F6}" type="pres">
      <dgm:prSet presAssocID="{09BA98DE-DEC2-4D0D-8490-D3297BBF0088}" presName="parTransTwo" presStyleCnt="0"/>
      <dgm:spPr/>
    </dgm:pt>
    <dgm:pt modelId="{B536D2A5-09A8-40A9-B9B2-95A40A490E97}" type="pres">
      <dgm:prSet presAssocID="{09BA98DE-DEC2-4D0D-8490-D3297BBF0088}" presName="horzTwo" presStyleCnt="0"/>
      <dgm:spPr/>
    </dgm:pt>
    <dgm:pt modelId="{CC689BD4-6667-4A02-BE0B-05FBA1E9DFEE}" type="pres">
      <dgm:prSet presAssocID="{A7376EC0-5FEA-48A4-B284-B453C867CA4F}" presName="vertThree" presStyleCnt="0"/>
      <dgm:spPr/>
    </dgm:pt>
    <dgm:pt modelId="{7951CDCD-4F97-4CCA-8C56-4992B72B07BB}" type="pres">
      <dgm:prSet presAssocID="{A7376EC0-5FEA-48A4-B284-B453C867CA4F}" presName="txThree" presStyleLbl="node3" presStyleIdx="0" presStyleCnt="3" custScaleX="137055" custLinFactX="-10668" custLinFactNeighborX="-100000" custLinFactNeighborY="8130">
        <dgm:presLayoutVars>
          <dgm:chPref val="3"/>
        </dgm:presLayoutVars>
      </dgm:prSet>
      <dgm:spPr/>
    </dgm:pt>
    <dgm:pt modelId="{5AA5A2CD-9B6E-4706-AD2B-726846A26241}" type="pres">
      <dgm:prSet presAssocID="{A7376EC0-5FEA-48A4-B284-B453C867CA4F}" presName="horzThree" presStyleCnt="0"/>
      <dgm:spPr/>
    </dgm:pt>
    <dgm:pt modelId="{3774BBD5-FDE4-40E1-B05B-37017133E0FA}" type="pres">
      <dgm:prSet presAssocID="{620F1AE9-67A6-43E4-8D4E-A7556D36F8F8}" presName="sibSpaceThree" presStyleCnt="0"/>
      <dgm:spPr/>
    </dgm:pt>
    <dgm:pt modelId="{6F748793-9F52-45C0-BB7D-F70EE9ADCD11}" type="pres">
      <dgm:prSet presAssocID="{589892E1-7E9A-4ED2-9A00-ECF59CD9E4E2}" presName="vertThree" presStyleCnt="0"/>
      <dgm:spPr/>
    </dgm:pt>
    <dgm:pt modelId="{D8A6C93A-917D-4567-B16D-E30EEE8A93BD}" type="pres">
      <dgm:prSet presAssocID="{589892E1-7E9A-4ED2-9A00-ECF59CD9E4E2}" presName="txThree" presStyleLbl="node3" presStyleIdx="1" presStyleCnt="3" custScaleX="139559" custLinFactX="-7099" custLinFactNeighborX="-100000" custLinFactNeighborY="8130">
        <dgm:presLayoutVars>
          <dgm:chPref val="3"/>
        </dgm:presLayoutVars>
      </dgm:prSet>
      <dgm:spPr/>
    </dgm:pt>
    <dgm:pt modelId="{EF0B39D7-3444-41FC-AA5E-204BA04CE20B}" type="pres">
      <dgm:prSet presAssocID="{589892E1-7E9A-4ED2-9A00-ECF59CD9E4E2}" presName="horzThree" presStyleCnt="0"/>
      <dgm:spPr/>
    </dgm:pt>
    <dgm:pt modelId="{0C74B5B8-1BB4-4CC1-B901-4409ED4551A1}" type="pres">
      <dgm:prSet presAssocID="{6E27F27E-66F1-4C1C-AB5B-DE1A342F5B80}" presName="sibSpaceThree" presStyleCnt="0"/>
      <dgm:spPr/>
    </dgm:pt>
    <dgm:pt modelId="{46B34DDF-9C3B-405B-9CAC-1D39BDBC2EEE}" type="pres">
      <dgm:prSet presAssocID="{16B3806B-317F-41B0-ABDF-7267C80EC3B2}" presName="vertThree" presStyleCnt="0"/>
      <dgm:spPr/>
    </dgm:pt>
    <dgm:pt modelId="{9A46057F-5CDA-4B57-BF6D-897D216AF86F}" type="pres">
      <dgm:prSet presAssocID="{16B3806B-317F-41B0-ABDF-7267C80EC3B2}" presName="txThree" presStyleLbl="node3" presStyleIdx="2" presStyleCnt="3" custLinFactX="-3851" custLinFactNeighborX="-100000" custLinFactNeighborY="8339">
        <dgm:presLayoutVars>
          <dgm:chPref val="3"/>
        </dgm:presLayoutVars>
      </dgm:prSet>
      <dgm:spPr/>
    </dgm:pt>
    <dgm:pt modelId="{DBC56214-4432-4434-8518-707CDC63F5BF}" type="pres">
      <dgm:prSet presAssocID="{16B3806B-317F-41B0-ABDF-7267C80EC3B2}" presName="horzThree" presStyleCnt="0"/>
      <dgm:spPr/>
    </dgm:pt>
    <dgm:pt modelId="{38DD3712-FE5D-4944-89FA-AD709564BD3A}" type="pres">
      <dgm:prSet presAssocID="{478B7D3C-9FB4-4BC6-90AC-49960560DECD}" presName="sibSpaceOne" presStyleCnt="0"/>
      <dgm:spPr/>
    </dgm:pt>
    <dgm:pt modelId="{1C4B8FF2-A5B4-46BA-942A-8A19BEE69F70}" type="pres">
      <dgm:prSet presAssocID="{6733E3A7-9EE4-4EFF-B65C-61E0B126E302}" presName="vertOne" presStyleCnt="0"/>
      <dgm:spPr/>
    </dgm:pt>
    <dgm:pt modelId="{1F321622-6935-42D4-AE83-D556256DD586}" type="pres">
      <dgm:prSet presAssocID="{6733E3A7-9EE4-4EFF-B65C-61E0B126E302}" presName="txOne" presStyleLbl="node0" presStyleIdx="1" presStyleCnt="3" custScaleY="315634" custLinFactX="3762" custLinFactNeighborX="100000" custLinFactNeighborY="3199">
        <dgm:presLayoutVars>
          <dgm:chPref val="3"/>
        </dgm:presLayoutVars>
      </dgm:prSet>
      <dgm:spPr/>
    </dgm:pt>
    <dgm:pt modelId="{824137B6-FDCD-4837-BBD2-6FDD09327885}" type="pres">
      <dgm:prSet presAssocID="{6733E3A7-9EE4-4EFF-B65C-61E0B126E302}" presName="horzOne" presStyleCnt="0"/>
      <dgm:spPr/>
    </dgm:pt>
    <dgm:pt modelId="{ECE19E2B-8C42-4059-9124-AF3EDDEFF355}" type="pres">
      <dgm:prSet presAssocID="{C64997DC-0FAE-46D2-807A-F0C151BFA135}" presName="sibSpaceOne" presStyleCnt="0"/>
      <dgm:spPr/>
    </dgm:pt>
    <dgm:pt modelId="{915571E0-40F3-4E75-A71C-E935FB4D94B6}" type="pres">
      <dgm:prSet presAssocID="{9A65ADEB-F1B5-411F-B9AC-B64E8E60B070}" presName="vertOne" presStyleCnt="0"/>
      <dgm:spPr/>
    </dgm:pt>
    <dgm:pt modelId="{AF9421C1-0977-4165-AE01-1E0941FF1DC2}" type="pres">
      <dgm:prSet presAssocID="{9A65ADEB-F1B5-411F-B9AC-B64E8E60B070}" presName="txOne" presStyleLbl="node0" presStyleIdx="2" presStyleCnt="3" custScaleY="314215" custLinFactX="-23206" custLinFactNeighborX="-100000" custLinFactNeighborY="3199">
        <dgm:presLayoutVars>
          <dgm:chPref val="3"/>
        </dgm:presLayoutVars>
      </dgm:prSet>
      <dgm:spPr/>
    </dgm:pt>
    <dgm:pt modelId="{870B6F6E-AE96-4262-9B4A-86C432C82D5E}" type="pres">
      <dgm:prSet presAssocID="{9A65ADEB-F1B5-411F-B9AC-B64E8E60B070}" presName="horzOne" presStyleCnt="0"/>
      <dgm:spPr/>
    </dgm:pt>
  </dgm:ptLst>
  <dgm:cxnLst>
    <dgm:cxn modelId="{1D76C90C-838C-4330-B04F-05BE873D410F}" srcId="{42D71409-67F9-455C-8C6D-716D284AAA6B}" destId="{8E346F4D-76A2-462D-9B44-3650FB2B405C}" srcOrd="0" destOrd="0" parTransId="{3F230114-3CC0-45DF-9870-044520BC28C8}" sibTransId="{0F905974-FF65-435B-B2DD-FBC8F1A908F0}"/>
    <dgm:cxn modelId="{6933AB0D-D526-4683-90E6-DBCAD5B13CA0}" srcId="{B9C32B05-62EA-407A-B21C-2310C7945705}" destId="{9A65ADEB-F1B5-411F-B9AC-B64E8E60B070}" srcOrd="2" destOrd="0" parTransId="{124EE3FC-3289-4868-83FD-BB361276B47E}" sibTransId="{80E8A97E-4D14-4268-B043-8933A19483DA}"/>
    <dgm:cxn modelId="{AC431E10-8495-40FC-AE68-1DE0241390B0}" srcId="{09BA98DE-DEC2-4D0D-8490-D3297BBF0088}" destId="{A7376EC0-5FEA-48A4-B284-B453C867CA4F}" srcOrd="0" destOrd="0" parTransId="{D8387D70-E1F9-4B42-8EE4-B3BED889F64B}" sibTransId="{620F1AE9-67A6-43E4-8D4E-A7556D36F8F8}"/>
    <dgm:cxn modelId="{5A200011-DE1C-4E4A-8F4A-4D5AD08EE3A9}" srcId="{09BA98DE-DEC2-4D0D-8490-D3297BBF0088}" destId="{16B3806B-317F-41B0-ABDF-7267C80EC3B2}" srcOrd="2" destOrd="0" parTransId="{97DC8A9B-CFD6-40D1-A1ED-398BABE06067}" sibTransId="{C1409865-ED18-41BE-9B28-662D81AEEE4F}"/>
    <dgm:cxn modelId="{2AA9C11F-1F1D-428E-801A-47EAA766C99D}" srcId="{B9C32B05-62EA-407A-B21C-2310C7945705}" destId="{42D71409-67F9-455C-8C6D-716D284AAA6B}" srcOrd="0" destOrd="0" parTransId="{51680ED1-AF6E-4B28-AE94-92B0EFB0DF7D}" sibTransId="{478B7D3C-9FB4-4BC6-90AC-49960560DECD}"/>
    <dgm:cxn modelId="{002FC724-4458-4399-95F0-DD0F4F499922}" type="presOf" srcId="{16B3806B-317F-41B0-ABDF-7267C80EC3B2}" destId="{9A46057F-5CDA-4B57-BF6D-897D216AF86F}" srcOrd="0" destOrd="0" presId="urn:microsoft.com/office/officeart/2005/8/layout/architecture"/>
    <dgm:cxn modelId="{3848107F-1EC9-41DA-9709-110B9520907B}" type="presOf" srcId="{9A65ADEB-F1B5-411F-B9AC-B64E8E60B070}" destId="{AF9421C1-0977-4165-AE01-1E0941FF1DC2}" srcOrd="0" destOrd="0" presId="urn:microsoft.com/office/officeart/2005/8/layout/architecture"/>
    <dgm:cxn modelId="{3623D780-5387-46E8-AB13-C4DFDB623A42}" type="presOf" srcId="{589892E1-7E9A-4ED2-9A00-ECF59CD9E4E2}" destId="{D8A6C93A-917D-4567-B16D-E30EEE8A93BD}" srcOrd="0" destOrd="0" presId="urn:microsoft.com/office/officeart/2005/8/layout/architecture"/>
    <dgm:cxn modelId="{B5BB75A2-75EA-45EB-8742-400484136508}" type="presOf" srcId="{42D71409-67F9-455C-8C6D-716D284AAA6B}" destId="{034D588B-2C5E-413E-8FB3-A45A598FE77E}" srcOrd="0" destOrd="0" presId="urn:microsoft.com/office/officeart/2005/8/layout/architecture"/>
    <dgm:cxn modelId="{D68E50A4-4DE3-4F5D-92C6-F68E47329EAA}" srcId="{09BA98DE-DEC2-4D0D-8490-D3297BBF0088}" destId="{589892E1-7E9A-4ED2-9A00-ECF59CD9E4E2}" srcOrd="1" destOrd="0" parTransId="{6298D63F-CF36-4C9A-B1AF-B6EC065B8542}" sibTransId="{6E27F27E-66F1-4C1C-AB5B-DE1A342F5B80}"/>
    <dgm:cxn modelId="{124E45AB-71B7-4AA3-93A4-777C21DB6D38}" type="presOf" srcId="{8E346F4D-76A2-462D-9B44-3650FB2B405C}" destId="{CDB456C7-FEB2-4189-8DB4-859E0B913BE7}" srcOrd="0" destOrd="0" presId="urn:microsoft.com/office/officeart/2005/8/layout/architecture"/>
    <dgm:cxn modelId="{85758AB2-7FA5-4983-B8C3-CF9A18B6A5C4}" type="presOf" srcId="{B9C32B05-62EA-407A-B21C-2310C7945705}" destId="{2B2119DE-9C5F-42BD-90CA-B1F7EF735AF4}" srcOrd="0" destOrd="0" presId="urn:microsoft.com/office/officeart/2005/8/layout/architecture"/>
    <dgm:cxn modelId="{B74A69C1-DB0A-4823-ABB8-FD9F97D1DF87}" srcId="{42D71409-67F9-455C-8C6D-716D284AAA6B}" destId="{09BA98DE-DEC2-4D0D-8490-D3297BBF0088}" srcOrd="1" destOrd="0" parTransId="{8E89657A-9899-4663-8EBD-CE951A955DD5}" sibTransId="{D9604DA3-0B95-413D-AA9C-D75798C0FF52}"/>
    <dgm:cxn modelId="{C9D60DC9-07F2-4CD3-9E00-049CE783ACA8}" type="presOf" srcId="{09BA98DE-DEC2-4D0D-8490-D3297BBF0088}" destId="{79946D67-CF20-4533-873C-9747C402A031}" srcOrd="0" destOrd="0" presId="urn:microsoft.com/office/officeart/2005/8/layout/architecture"/>
    <dgm:cxn modelId="{C4B3FED4-3336-4139-911B-D057D16A48F5}" srcId="{B9C32B05-62EA-407A-B21C-2310C7945705}" destId="{6733E3A7-9EE4-4EFF-B65C-61E0B126E302}" srcOrd="1" destOrd="0" parTransId="{3D98FF0D-B7EB-42FA-8A0C-F97A740C5CC2}" sibTransId="{C64997DC-0FAE-46D2-807A-F0C151BFA135}"/>
    <dgm:cxn modelId="{38F8C9DE-DC6A-4715-8D05-6E0F9F505229}" type="presOf" srcId="{6733E3A7-9EE4-4EFF-B65C-61E0B126E302}" destId="{1F321622-6935-42D4-AE83-D556256DD586}" srcOrd="0" destOrd="0" presId="urn:microsoft.com/office/officeart/2005/8/layout/architecture"/>
    <dgm:cxn modelId="{DC080EEE-C8F8-432A-9B34-FDF0D0788651}" type="presOf" srcId="{A7376EC0-5FEA-48A4-B284-B453C867CA4F}" destId="{7951CDCD-4F97-4CCA-8C56-4992B72B07BB}" srcOrd="0" destOrd="0" presId="urn:microsoft.com/office/officeart/2005/8/layout/architecture"/>
    <dgm:cxn modelId="{588ED00D-4D6E-4088-9E8D-BCCC2424DD94}" type="presParOf" srcId="{2B2119DE-9C5F-42BD-90CA-B1F7EF735AF4}" destId="{7B9E2D6A-8969-4EEC-85C2-615B86E0B196}" srcOrd="0" destOrd="0" presId="urn:microsoft.com/office/officeart/2005/8/layout/architecture"/>
    <dgm:cxn modelId="{C97FA7B9-3909-40BF-B4E7-698253C30DEE}" type="presParOf" srcId="{7B9E2D6A-8969-4EEC-85C2-615B86E0B196}" destId="{034D588B-2C5E-413E-8FB3-A45A598FE77E}" srcOrd="0" destOrd="0" presId="urn:microsoft.com/office/officeart/2005/8/layout/architecture"/>
    <dgm:cxn modelId="{2FDF27A4-2071-4D91-832C-1D0E824C97EE}" type="presParOf" srcId="{7B9E2D6A-8969-4EEC-85C2-615B86E0B196}" destId="{155C8750-CD3F-4EED-8869-852B83F3E2B4}" srcOrd="1" destOrd="0" presId="urn:microsoft.com/office/officeart/2005/8/layout/architecture"/>
    <dgm:cxn modelId="{F7805FE9-C163-464E-B2FD-34C97683CE23}" type="presParOf" srcId="{7B9E2D6A-8969-4EEC-85C2-615B86E0B196}" destId="{782F8E29-E0AF-4190-B2CF-FA75DA3E0DD3}" srcOrd="2" destOrd="0" presId="urn:microsoft.com/office/officeart/2005/8/layout/architecture"/>
    <dgm:cxn modelId="{EAC7ED76-45F9-46D9-B363-0B1ED5A6C101}" type="presParOf" srcId="{782F8E29-E0AF-4190-B2CF-FA75DA3E0DD3}" destId="{DA72A51A-2648-42DA-A6F5-1368068F74F5}" srcOrd="0" destOrd="0" presId="urn:microsoft.com/office/officeart/2005/8/layout/architecture"/>
    <dgm:cxn modelId="{ED9ACF08-EA60-4810-A7D5-8FFDB5F8FEF4}" type="presParOf" srcId="{DA72A51A-2648-42DA-A6F5-1368068F74F5}" destId="{CDB456C7-FEB2-4189-8DB4-859E0B913BE7}" srcOrd="0" destOrd="0" presId="urn:microsoft.com/office/officeart/2005/8/layout/architecture"/>
    <dgm:cxn modelId="{6430F1B7-057D-46F2-B94D-921901844116}" type="presParOf" srcId="{DA72A51A-2648-42DA-A6F5-1368068F74F5}" destId="{665A94F3-AC2E-440A-90D8-6366FA2C472B}" srcOrd="1" destOrd="0" presId="urn:microsoft.com/office/officeart/2005/8/layout/architecture"/>
    <dgm:cxn modelId="{CBF70580-475F-453E-9A5A-AF61C9E75B29}" type="presParOf" srcId="{782F8E29-E0AF-4190-B2CF-FA75DA3E0DD3}" destId="{E8E6822D-8E60-479F-9744-0822855A4470}" srcOrd="1" destOrd="0" presId="urn:microsoft.com/office/officeart/2005/8/layout/architecture"/>
    <dgm:cxn modelId="{8FEBE56A-4162-43B4-B195-1B9FB2C616C3}" type="presParOf" srcId="{782F8E29-E0AF-4190-B2CF-FA75DA3E0DD3}" destId="{1DEC18CE-0974-4E7A-AE22-5B53857D08A5}" srcOrd="2" destOrd="0" presId="urn:microsoft.com/office/officeart/2005/8/layout/architecture"/>
    <dgm:cxn modelId="{C80E0332-E069-4734-8D42-D75A106EDB37}" type="presParOf" srcId="{1DEC18CE-0974-4E7A-AE22-5B53857D08A5}" destId="{79946D67-CF20-4533-873C-9747C402A031}" srcOrd="0" destOrd="0" presId="urn:microsoft.com/office/officeart/2005/8/layout/architecture"/>
    <dgm:cxn modelId="{4A60400B-D40E-4162-A216-C95875A8DDEF}" type="presParOf" srcId="{1DEC18CE-0974-4E7A-AE22-5B53857D08A5}" destId="{11A9DFF6-0FBF-42E2-AC9E-E9078967B9F6}" srcOrd="1" destOrd="0" presId="urn:microsoft.com/office/officeart/2005/8/layout/architecture"/>
    <dgm:cxn modelId="{D521B28E-F6F9-4995-A0E4-BAAC36A49F70}" type="presParOf" srcId="{1DEC18CE-0974-4E7A-AE22-5B53857D08A5}" destId="{B536D2A5-09A8-40A9-B9B2-95A40A490E97}" srcOrd="2" destOrd="0" presId="urn:microsoft.com/office/officeart/2005/8/layout/architecture"/>
    <dgm:cxn modelId="{A622562E-592E-402C-857E-8625E8F1BDD3}" type="presParOf" srcId="{B536D2A5-09A8-40A9-B9B2-95A40A490E97}" destId="{CC689BD4-6667-4A02-BE0B-05FBA1E9DFEE}" srcOrd="0" destOrd="0" presId="urn:microsoft.com/office/officeart/2005/8/layout/architecture"/>
    <dgm:cxn modelId="{52D56F2C-5A95-42D2-904E-6F330E57990B}" type="presParOf" srcId="{CC689BD4-6667-4A02-BE0B-05FBA1E9DFEE}" destId="{7951CDCD-4F97-4CCA-8C56-4992B72B07BB}" srcOrd="0" destOrd="0" presId="urn:microsoft.com/office/officeart/2005/8/layout/architecture"/>
    <dgm:cxn modelId="{11BCAA80-CFC8-4841-82A1-BB672751907C}" type="presParOf" srcId="{CC689BD4-6667-4A02-BE0B-05FBA1E9DFEE}" destId="{5AA5A2CD-9B6E-4706-AD2B-726846A26241}" srcOrd="1" destOrd="0" presId="urn:microsoft.com/office/officeart/2005/8/layout/architecture"/>
    <dgm:cxn modelId="{7D9883E2-F95F-454B-8809-BE91834652EE}" type="presParOf" srcId="{B536D2A5-09A8-40A9-B9B2-95A40A490E97}" destId="{3774BBD5-FDE4-40E1-B05B-37017133E0FA}" srcOrd="1" destOrd="0" presId="urn:microsoft.com/office/officeart/2005/8/layout/architecture"/>
    <dgm:cxn modelId="{C16804A8-D2E4-44D5-86AB-4F64C5B6FA22}" type="presParOf" srcId="{B536D2A5-09A8-40A9-B9B2-95A40A490E97}" destId="{6F748793-9F52-45C0-BB7D-F70EE9ADCD11}" srcOrd="2" destOrd="0" presId="urn:microsoft.com/office/officeart/2005/8/layout/architecture"/>
    <dgm:cxn modelId="{D1815D0A-850A-4B3D-9531-BC794754C24A}" type="presParOf" srcId="{6F748793-9F52-45C0-BB7D-F70EE9ADCD11}" destId="{D8A6C93A-917D-4567-B16D-E30EEE8A93BD}" srcOrd="0" destOrd="0" presId="urn:microsoft.com/office/officeart/2005/8/layout/architecture"/>
    <dgm:cxn modelId="{E8833218-0FB4-4556-B6B2-F39CB23A9DA9}" type="presParOf" srcId="{6F748793-9F52-45C0-BB7D-F70EE9ADCD11}" destId="{EF0B39D7-3444-41FC-AA5E-204BA04CE20B}" srcOrd="1" destOrd="0" presId="urn:microsoft.com/office/officeart/2005/8/layout/architecture"/>
    <dgm:cxn modelId="{420D2430-74B1-48CE-BDA0-13B2D1A9EC49}" type="presParOf" srcId="{B536D2A5-09A8-40A9-B9B2-95A40A490E97}" destId="{0C74B5B8-1BB4-4CC1-B901-4409ED4551A1}" srcOrd="3" destOrd="0" presId="urn:microsoft.com/office/officeart/2005/8/layout/architecture"/>
    <dgm:cxn modelId="{2A9FB6BE-ECA8-4E66-B9DF-86BEA700D0CE}" type="presParOf" srcId="{B536D2A5-09A8-40A9-B9B2-95A40A490E97}" destId="{46B34DDF-9C3B-405B-9CAC-1D39BDBC2EEE}" srcOrd="4" destOrd="0" presId="urn:microsoft.com/office/officeart/2005/8/layout/architecture"/>
    <dgm:cxn modelId="{369B2DC3-AB1D-488E-8909-BF02FF476E2C}" type="presParOf" srcId="{46B34DDF-9C3B-405B-9CAC-1D39BDBC2EEE}" destId="{9A46057F-5CDA-4B57-BF6D-897D216AF86F}" srcOrd="0" destOrd="0" presId="urn:microsoft.com/office/officeart/2005/8/layout/architecture"/>
    <dgm:cxn modelId="{112D863C-F6F5-468A-87A3-52921F992089}" type="presParOf" srcId="{46B34DDF-9C3B-405B-9CAC-1D39BDBC2EEE}" destId="{DBC56214-4432-4434-8518-707CDC63F5BF}" srcOrd="1" destOrd="0" presId="urn:microsoft.com/office/officeart/2005/8/layout/architecture"/>
    <dgm:cxn modelId="{0044AE15-1BC1-48E4-9C4B-8C0B9EBC5877}" type="presParOf" srcId="{2B2119DE-9C5F-42BD-90CA-B1F7EF735AF4}" destId="{38DD3712-FE5D-4944-89FA-AD709564BD3A}" srcOrd="1" destOrd="0" presId="urn:microsoft.com/office/officeart/2005/8/layout/architecture"/>
    <dgm:cxn modelId="{BFE25075-50F9-4614-89CC-9FF3EE6181B3}" type="presParOf" srcId="{2B2119DE-9C5F-42BD-90CA-B1F7EF735AF4}" destId="{1C4B8FF2-A5B4-46BA-942A-8A19BEE69F70}" srcOrd="2" destOrd="0" presId="urn:microsoft.com/office/officeart/2005/8/layout/architecture"/>
    <dgm:cxn modelId="{6D28225A-FF24-4581-B1AC-791605E51324}" type="presParOf" srcId="{1C4B8FF2-A5B4-46BA-942A-8A19BEE69F70}" destId="{1F321622-6935-42D4-AE83-D556256DD586}" srcOrd="0" destOrd="0" presId="urn:microsoft.com/office/officeart/2005/8/layout/architecture"/>
    <dgm:cxn modelId="{45186672-D8FA-4311-A3FA-AE333BF3778C}" type="presParOf" srcId="{1C4B8FF2-A5B4-46BA-942A-8A19BEE69F70}" destId="{824137B6-FDCD-4837-BBD2-6FDD09327885}" srcOrd="1" destOrd="0" presId="urn:microsoft.com/office/officeart/2005/8/layout/architecture"/>
    <dgm:cxn modelId="{DC483457-9AB1-406E-9A07-07316D2386AE}" type="presParOf" srcId="{2B2119DE-9C5F-42BD-90CA-B1F7EF735AF4}" destId="{ECE19E2B-8C42-4059-9124-AF3EDDEFF355}" srcOrd="3" destOrd="0" presId="urn:microsoft.com/office/officeart/2005/8/layout/architecture"/>
    <dgm:cxn modelId="{F56D0C17-D924-4CA8-86D6-5F5D5B9652EE}" type="presParOf" srcId="{2B2119DE-9C5F-42BD-90CA-B1F7EF735AF4}" destId="{915571E0-40F3-4E75-A71C-E935FB4D94B6}" srcOrd="4" destOrd="0" presId="urn:microsoft.com/office/officeart/2005/8/layout/architecture"/>
    <dgm:cxn modelId="{4B51DD50-2846-4DC9-AE5B-7D89FFCE37FD}" type="presParOf" srcId="{915571E0-40F3-4E75-A71C-E935FB4D94B6}" destId="{AF9421C1-0977-4165-AE01-1E0941FF1DC2}" srcOrd="0" destOrd="0" presId="urn:microsoft.com/office/officeart/2005/8/layout/architecture"/>
    <dgm:cxn modelId="{1F02656D-0A23-4A49-A9E1-D1AD141D40D8}" type="presParOf" srcId="{915571E0-40F3-4E75-A71C-E935FB4D94B6}" destId="{870B6F6E-AE96-4262-9B4A-86C432C82D5E}" srcOrd="1" destOrd="0" presId="urn:microsoft.com/office/officeart/2005/8/layout/architecture"/>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6160D3D4-613A-4519-A481-F89ADD5F7320}" type="doc">
      <dgm:prSet loTypeId="urn:microsoft.com/office/officeart/2005/8/layout/pyramid1" loCatId="pyramid" qsTypeId="urn:microsoft.com/office/officeart/2005/8/quickstyle/3d1" qsCatId="3D" csTypeId="urn:microsoft.com/office/officeart/2005/8/colors/accent5_3" csCatId="accent5" phldr="1"/>
      <dgm:spPr/>
    </dgm:pt>
    <dgm:pt modelId="{F7E37FBC-8099-4DB3-B4F8-DBDE0DCEC1D7}">
      <dgm:prSet phldrT="[Text]" custT="1"/>
      <dgm:spPr>
        <a:solidFill>
          <a:srgbClr val="D23C00"/>
        </a:solidFill>
      </dgm:spPr>
      <dgm:t>
        <a:bodyPr/>
        <a:lstStyle/>
        <a:p>
          <a:br>
            <a:rPr lang="pl-PL" sz="2400" dirty="0"/>
          </a:br>
          <a:r>
            <a:rPr lang="en-US" sz="2400" b="1" dirty="0">
              <a:solidFill>
                <a:schemeClr val="bg1"/>
              </a:solidFill>
            </a:rPr>
            <a:t>UI</a:t>
          </a:r>
        </a:p>
      </dgm:t>
    </dgm:pt>
    <dgm:pt modelId="{4DE24ECE-3EB3-4587-A9D2-7675F7253B81}" type="parTrans" cxnId="{523B1973-54E8-4340-8BEC-4990CC12CCAB}">
      <dgm:prSet/>
      <dgm:spPr/>
      <dgm:t>
        <a:bodyPr/>
        <a:lstStyle/>
        <a:p>
          <a:endParaRPr lang="en-US" sz="3200"/>
        </a:p>
      </dgm:t>
    </dgm:pt>
    <dgm:pt modelId="{A4184C1B-393D-4ED0-B75D-4EBB166314F0}" type="sibTrans" cxnId="{523B1973-54E8-4340-8BEC-4990CC12CCAB}">
      <dgm:prSet/>
      <dgm:spPr/>
      <dgm:t>
        <a:bodyPr/>
        <a:lstStyle/>
        <a:p>
          <a:endParaRPr lang="en-US" sz="3200"/>
        </a:p>
      </dgm:t>
    </dgm:pt>
    <dgm:pt modelId="{6ED7E280-935A-4740-AB58-C0FAE580BFA8}">
      <dgm:prSet phldrT="[Text]" custT="1"/>
      <dgm:spPr>
        <a:solidFill>
          <a:schemeClr val="accent3"/>
        </a:solidFill>
      </dgm:spPr>
      <dgm:t>
        <a:bodyPr/>
        <a:lstStyle/>
        <a:p>
          <a:r>
            <a:rPr lang="en-US" sz="2400" b="1" dirty="0">
              <a:solidFill>
                <a:schemeClr val="bg1"/>
              </a:solidFill>
            </a:rPr>
            <a:t>API</a:t>
          </a:r>
        </a:p>
      </dgm:t>
    </dgm:pt>
    <dgm:pt modelId="{5557C28B-0EA8-4FB7-83D5-63A8425867B0}" type="parTrans" cxnId="{C8800816-4F59-4A4E-935C-FBF3F6068543}">
      <dgm:prSet/>
      <dgm:spPr/>
      <dgm:t>
        <a:bodyPr/>
        <a:lstStyle/>
        <a:p>
          <a:endParaRPr lang="en-US" sz="3200"/>
        </a:p>
      </dgm:t>
    </dgm:pt>
    <dgm:pt modelId="{B82D1D0A-4B79-4939-A9FC-741F1AD7AD1B}" type="sibTrans" cxnId="{C8800816-4F59-4A4E-935C-FBF3F6068543}">
      <dgm:prSet/>
      <dgm:spPr/>
      <dgm:t>
        <a:bodyPr/>
        <a:lstStyle/>
        <a:p>
          <a:endParaRPr lang="en-US" sz="3200"/>
        </a:p>
      </dgm:t>
    </dgm:pt>
    <dgm:pt modelId="{40285531-BAEE-43E6-BBD4-8249575B1878}">
      <dgm:prSet phldrT="[Text]" custT="1"/>
      <dgm:spPr>
        <a:solidFill>
          <a:schemeClr val="accent1"/>
        </a:solidFill>
      </dgm:spPr>
      <dgm:t>
        <a:bodyPr/>
        <a:lstStyle/>
        <a:p>
          <a:r>
            <a:rPr lang="pl-PL" sz="2400" b="1" dirty="0">
              <a:solidFill>
                <a:schemeClr val="bg1"/>
              </a:solidFill>
            </a:rPr>
            <a:t>BACKEND</a:t>
          </a:r>
          <a:endParaRPr lang="en-US" sz="2400" b="1" dirty="0">
            <a:solidFill>
              <a:schemeClr val="bg1"/>
            </a:solidFill>
          </a:endParaRPr>
        </a:p>
      </dgm:t>
    </dgm:pt>
    <dgm:pt modelId="{02C1CD83-DAFB-41CF-8A55-71BDDE805E6F}" type="parTrans" cxnId="{43B32424-97BD-4835-930A-AAF69C57FCAF}">
      <dgm:prSet/>
      <dgm:spPr/>
      <dgm:t>
        <a:bodyPr/>
        <a:lstStyle/>
        <a:p>
          <a:endParaRPr lang="en-US" sz="3200"/>
        </a:p>
      </dgm:t>
    </dgm:pt>
    <dgm:pt modelId="{A3A07BDC-2C6D-43A8-9A05-A9E100E8AB15}" type="sibTrans" cxnId="{43B32424-97BD-4835-930A-AAF69C57FCAF}">
      <dgm:prSet/>
      <dgm:spPr/>
      <dgm:t>
        <a:bodyPr/>
        <a:lstStyle/>
        <a:p>
          <a:endParaRPr lang="en-US" sz="3200"/>
        </a:p>
      </dgm:t>
    </dgm:pt>
    <dgm:pt modelId="{891CA3F0-A4E4-43F8-949C-180B2AB3BCFE}" type="pres">
      <dgm:prSet presAssocID="{6160D3D4-613A-4519-A481-F89ADD5F7320}" presName="Name0" presStyleCnt="0">
        <dgm:presLayoutVars>
          <dgm:dir/>
          <dgm:animLvl val="lvl"/>
          <dgm:resizeHandles val="exact"/>
        </dgm:presLayoutVars>
      </dgm:prSet>
      <dgm:spPr/>
    </dgm:pt>
    <dgm:pt modelId="{24A053E9-ED32-40AA-8B2A-BD33F0C11AE2}" type="pres">
      <dgm:prSet presAssocID="{F7E37FBC-8099-4DB3-B4F8-DBDE0DCEC1D7}" presName="Name8" presStyleCnt="0"/>
      <dgm:spPr/>
    </dgm:pt>
    <dgm:pt modelId="{9BFA4AC6-E825-4477-B889-F9C66C1195B8}" type="pres">
      <dgm:prSet presAssocID="{F7E37FBC-8099-4DB3-B4F8-DBDE0DCEC1D7}" presName="level" presStyleLbl="node1" presStyleIdx="0" presStyleCnt="3" custScaleY="66687" custLinFactNeighborX="502">
        <dgm:presLayoutVars>
          <dgm:chMax val="1"/>
          <dgm:bulletEnabled val="1"/>
        </dgm:presLayoutVars>
      </dgm:prSet>
      <dgm:spPr/>
    </dgm:pt>
    <dgm:pt modelId="{7008F9DC-B4CA-4C47-ACF8-16602824A142}" type="pres">
      <dgm:prSet presAssocID="{F7E37FBC-8099-4DB3-B4F8-DBDE0DCEC1D7}" presName="levelTx" presStyleLbl="revTx" presStyleIdx="0" presStyleCnt="0">
        <dgm:presLayoutVars>
          <dgm:chMax val="1"/>
          <dgm:bulletEnabled val="1"/>
        </dgm:presLayoutVars>
      </dgm:prSet>
      <dgm:spPr/>
    </dgm:pt>
    <dgm:pt modelId="{141F8D72-3F15-4CC5-95F4-F3EA15242490}" type="pres">
      <dgm:prSet presAssocID="{6ED7E280-935A-4740-AB58-C0FAE580BFA8}" presName="Name8" presStyleCnt="0"/>
      <dgm:spPr/>
    </dgm:pt>
    <dgm:pt modelId="{3DF1A04F-9824-4FA2-8E9B-69197A34DB02}" type="pres">
      <dgm:prSet presAssocID="{6ED7E280-935A-4740-AB58-C0FAE580BFA8}" presName="level" presStyleLbl="node1" presStyleIdx="1" presStyleCnt="3" custScaleY="63097" custLinFactNeighborX="524" custLinFactNeighborY="347">
        <dgm:presLayoutVars>
          <dgm:chMax val="1"/>
          <dgm:bulletEnabled val="1"/>
        </dgm:presLayoutVars>
      </dgm:prSet>
      <dgm:spPr/>
    </dgm:pt>
    <dgm:pt modelId="{B615F79F-706C-4309-9FFC-D94774F354E8}" type="pres">
      <dgm:prSet presAssocID="{6ED7E280-935A-4740-AB58-C0FAE580BFA8}" presName="levelTx" presStyleLbl="revTx" presStyleIdx="0" presStyleCnt="0">
        <dgm:presLayoutVars>
          <dgm:chMax val="1"/>
          <dgm:bulletEnabled val="1"/>
        </dgm:presLayoutVars>
      </dgm:prSet>
      <dgm:spPr/>
    </dgm:pt>
    <dgm:pt modelId="{6B315756-5F49-4E5C-B814-8281ACC31042}" type="pres">
      <dgm:prSet presAssocID="{40285531-BAEE-43E6-BBD4-8249575B1878}" presName="Name8" presStyleCnt="0"/>
      <dgm:spPr/>
    </dgm:pt>
    <dgm:pt modelId="{D9074314-C21A-447C-9E4D-59C6F495C412}" type="pres">
      <dgm:prSet presAssocID="{40285531-BAEE-43E6-BBD4-8249575B1878}" presName="level" presStyleLbl="node1" presStyleIdx="2" presStyleCnt="3" custScaleY="64367" custLinFactNeighborY="3926">
        <dgm:presLayoutVars>
          <dgm:chMax val="1"/>
          <dgm:bulletEnabled val="1"/>
        </dgm:presLayoutVars>
      </dgm:prSet>
      <dgm:spPr/>
    </dgm:pt>
    <dgm:pt modelId="{9A3F85C7-0AE1-424E-8646-B4248B01294E}" type="pres">
      <dgm:prSet presAssocID="{40285531-BAEE-43E6-BBD4-8249575B1878}" presName="levelTx" presStyleLbl="revTx" presStyleIdx="0" presStyleCnt="0">
        <dgm:presLayoutVars>
          <dgm:chMax val="1"/>
          <dgm:bulletEnabled val="1"/>
        </dgm:presLayoutVars>
      </dgm:prSet>
      <dgm:spPr/>
    </dgm:pt>
  </dgm:ptLst>
  <dgm:cxnLst>
    <dgm:cxn modelId="{C8800816-4F59-4A4E-935C-FBF3F6068543}" srcId="{6160D3D4-613A-4519-A481-F89ADD5F7320}" destId="{6ED7E280-935A-4740-AB58-C0FAE580BFA8}" srcOrd="1" destOrd="0" parTransId="{5557C28B-0EA8-4FB7-83D5-63A8425867B0}" sibTransId="{B82D1D0A-4B79-4939-A9FC-741F1AD7AD1B}"/>
    <dgm:cxn modelId="{43B32424-97BD-4835-930A-AAF69C57FCAF}" srcId="{6160D3D4-613A-4519-A481-F89ADD5F7320}" destId="{40285531-BAEE-43E6-BBD4-8249575B1878}" srcOrd="2" destOrd="0" parTransId="{02C1CD83-DAFB-41CF-8A55-71BDDE805E6F}" sibTransId="{A3A07BDC-2C6D-43A8-9A05-A9E100E8AB15}"/>
    <dgm:cxn modelId="{4EA2C925-908F-4C27-A9F3-5C76AEE51B61}" type="presOf" srcId="{6160D3D4-613A-4519-A481-F89ADD5F7320}" destId="{891CA3F0-A4E4-43F8-949C-180B2AB3BCFE}" srcOrd="0" destOrd="0" presId="urn:microsoft.com/office/officeart/2005/8/layout/pyramid1"/>
    <dgm:cxn modelId="{A769AD2B-715C-43AE-B436-5B0C72192B8D}" type="presOf" srcId="{6ED7E280-935A-4740-AB58-C0FAE580BFA8}" destId="{B615F79F-706C-4309-9FFC-D94774F354E8}" srcOrd="1" destOrd="0" presId="urn:microsoft.com/office/officeart/2005/8/layout/pyramid1"/>
    <dgm:cxn modelId="{9A71CE3F-A6D5-4FFD-A4D8-D2BFE9FE0B27}" type="presOf" srcId="{F7E37FBC-8099-4DB3-B4F8-DBDE0DCEC1D7}" destId="{9BFA4AC6-E825-4477-B889-F9C66C1195B8}" srcOrd="0" destOrd="0" presId="urn:microsoft.com/office/officeart/2005/8/layout/pyramid1"/>
    <dgm:cxn modelId="{8B46DA40-4381-43BD-8721-1A1FA3A4F438}" type="presOf" srcId="{40285531-BAEE-43E6-BBD4-8249575B1878}" destId="{D9074314-C21A-447C-9E4D-59C6F495C412}" srcOrd="0" destOrd="0" presId="urn:microsoft.com/office/officeart/2005/8/layout/pyramid1"/>
    <dgm:cxn modelId="{B80BF05C-8BA1-4215-BC15-3C60460F2903}" type="presOf" srcId="{40285531-BAEE-43E6-BBD4-8249575B1878}" destId="{9A3F85C7-0AE1-424E-8646-B4248B01294E}" srcOrd="1" destOrd="0" presId="urn:microsoft.com/office/officeart/2005/8/layout/pyramid1"/>
    <dgm:cxn modelId="{523B1973-54E8-4340-8BEC-4990CC12CCAB}" srcId="{6160D3D4-613A-4519-A481-F89ADD5F7320}" destId="{F7E37FBC-8099-4DB3-B4F8-DBDE0DCEC1D7}" srcOrd="0" destOrd="0" parTransId="{4DE24ECE-3EB3-4587-A9D2-7675F7253B81}" sibTransId="{A4184C1B-393D-4ED0-B75D-4EBB166314F0}"/>
    <dgm:cxn modelId="{4661BB91-236C-451F-8003-F0C9E1F6CF49}" type="presOf" srcId="{6ED7E280-935A-4740-AB58-C0FAE580BFA8}" destId="{3DF1A04F-9824-4FA2-8E9B-69197A34DB02}" srcOrd="0" destOrd="0" presId="urn:microsoft.com/office/officeart/2005/8/layout/pyramid1"/>
    <dgm:cxn modelId="{0C7EAAB3-726B-4E86-8F9A-407ABD76C817}" type="presOf" srcId="{F7E37FBC-8099-4DB3-B4F8-DBDE0DCEC1D7}" destId="{7008F9DC-B4CA-4C47-ACF8-16602824A142}" srcOrd="1" destOrd="0" presId="urn:microsoft.com/office/officeart/2005/8/layout/pyramid1"/>
    <dgm:cxn modelId="{DB16B996-9949-4B46-AF90-8C6961794919}" type="presParOf" srcId="{891CA3F0-A4E4-43F8-949C-180B2AB3BCFE}" destId="{24A053E9-ED32-40AA-8B2A-BD33F0C11AE2}" srcOrd="0" destOrd="0" presId="urn:microsoft.com/office/officeart/2005/8/layout/pyramid1"/>
    <dgm:cxn modelId="{94FA46C1-DEE7-4365-A5F2-E6357A3A6940}" type="presParOf" srcId="{24A053E9-ED32-40AA-8B2A-BD33F0C11AE2}" destId="{9BFA4AC6-E825-4477-B889-F9C66C1195B8}" srcOrd="0" destOrd="0" presId="urn:microsoft.com/office/officeart/2005/8/layout/pyramid1"/>
    <dgm:cxn modelId="{BA6AB8EA-F657-46EE-AFD4-5D01DFD016BD}" type="presParOf" srcId="{24A053E9-ED32-40AA-8B2A-BD33F0C11AE2}" destId="{7008F9DC-B4CA-4C47-ACF8-16602824A142}" srcOrd="1" destOrd="0" presId="urn:microsoft.com/office/officeart/2005/8/layout/pyramid1"/>
    <dgm:cxn modelId="{6516AEF7-DDC5-4BCE-9794-1906551092AB}" type="presParOf" srcId="{891CA3F0-A4E4-43F8-949C-180B2AB3BCFE}" destId="{141F8D72-3F15-4CC5-95F4-F3EA15242490}" srcOrd="1" destOrd="0" presId="urn:microsoft.com/office/officeart/2005/8/layout/pyramid1"/>
    <dgm:cxn modelId="{E16A9FBB-F2CF-4373-A8EB-6731B5D42307}" type="presParOf" srcId="{141F8D72-3F15-4CC5-95F4-F3EA15242490}" destId="{3DF1A04F-9824-4FA2-8E9B-69197A34DB02}" srcOrd="0" destOrd="0" presId="urn:microsoft.com/office/officeart/2005/8/layout/pyramid1"/>
    <dgm:cxn modelId="{9322B9AB-48D4-452F-BAB1-718065BF448A}" type="presParOf" srcId="{141F8D72-3F15-4CC5-95F4-F3EA15242490}" destId="{B615F79F-706C-4309-9FFC-D94774F354E8}" srcOrd="1" destOrd="0" presId="urn:microsoft.com/office/officeart/2005/8/layout/pyramid1"/>
    <dgm:cxn modelId="{45532CB4-A93A-4001-8F63-681FC0807BBE}" type="presParOf" srcId="{891CA3F0-A4E4-43F8-949C-180B2AB3BCFE}" destId="{6B315756-5F49-4E5C-B814-8281ACC31042}" srcOrd="2" destOrd="0" presId="urn:microsoft.com/office/officeart/2005/8/layout/pyramid1"/>
    <dgm:cxn modelId="{BB806D34-3E32-4DFF-997C-490B1E51A3D7}" type="presParOf" srcId="{6B315756-5F49-4E5C-B814-8281ACC31042}" destId="{D9074314-C21A-447C-9E4D-59C6F495C412}" srcOrd="0" destOrd="0" presId="urn:microsoft.com/office/officeart/2005/8/layout/pyramid1"/>
    <dgm:cxn modelId="{3B9DE464-D075-4F72-9EB2-C94FCDD5B3E5}" type="presParOf" srcId="{6B315756-5F49-4E5C-B814-8281ACC31042}" destId="{9A3F85C7-0AE1-424E-8646-B4248B01294E}" srcOrd="1" destOrd="0" presId="urn:microsoft.com/office/officeart/2005/8/layout/pyramid1"/>
  </dgm:cxnLst>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9C32B05-62EA-407A-B21C-2310C7945705}" type="doc">
      <dgm:prSet loTypeId="urn:microsoft.com/office/officeart/2005/8/layout/vList6" loCatId="list" qsTypeId="urn:microsoft.com/office/officeart/2005/8/quickstyle/simple4" qsCatId="simple" csTypeId="urn:microsoft.com/office/officeart/2005/8/colors/colorful2" csCatId="colorful" phldr="1"/>
      <dgm:spPr/>
      <dgm:t>
        <a:bodyPr/>
        <a:lstStyle/>
        <a:p>
          <a:endParaRPr lang="en-US"/>
        </a:p>
      </dgm:t>
    </dgm:pt>
    <dgm:pt modelId="{42D71409-67F9-455C-8C6D-716D284AAA6B}">
      <dgm:prSet phldrT="[Text]"/>
      <dgm:spPr/>
      <dgm:t>
        <a:bodyPr/>
        <a:lstStyle/>
        <a:p>
          <a:r>
            <a:rPr lang="en-US" noProof="0" dirty="0">
              <a:latin typeface="Calibri" pitchFamily="34" charset="0"/>
            </a:rPr>
            <a:t>Process defragmentation</a:t>
          </a:r>
          <a:endParaRPr lang="en-US" noProof="0" dirty="0"/>
        </a:p>
      </dgm:t>
    </dgm:pt>
    <dgm:pt modelId="{51680ED1-AF6E-4B28-AE94-92B0EFB0DF7D}" type="parTrans" cxnId="{2AA9C11F-1F1D-428E-801A-47EAA766C99D}">
      <dgm:prSet/>
      <dgm:spPr/>
      <dgm:t>
        <a:bodyPr/>
        <a:lstStyle/>
        <a:p>
          <a:endParaRPr lang="en-US"/>
        </a:p>
      </dgm:t>
    </dgm:pt>
    <dgm:pt modelId="{478B7D3C-9FB4-4BC6-90AC-49960560DECD}" type="sibTrans" cxnId="{2AA9C11F-1F1D-428E-801A-47EAA766C99D}">
      <dgm:prSet/>
      <dgm:spPr/>
      <dgm:t>
        <a:bodyPr/>
        <a:lstStyle/>
        <a:p>
          <a:endParaRPr lang="en-US"/>
        </a:p>
      </dgm:t>
    </dgm:pt>
    <dgm:pt modelId="{366663D8-057F-41FC-A4E7-33421AB89914}">
      <dgm:prSet/>
      <dgm:spPr/>
      <dgm:t>
        <a:bodyPr/>
        <a:lstStyle/>
        <a:p>
          <a:r>
            <a:rPr lang="en-US" noProof="0" dirty="0">
              <a:latin typeface="Calibri" pitchFamily="34" charset="0"/>
            </a:rPr>
            <a:t>Team silos</a:t>
          </a:r>
        </a:p>
      </dgm:t>
    </dgm:pt>
    <dgm:pt modelId="{ACE56FCD-FB96-449D-9606-BACBF83717B8}" type="parTrans" cxnId="{A79071EA-B800-405D-90B2-FD64C9384AF3}">
      <dgm:prSet/>
      <dgm:spPr/>
      <dgm:t>
        <a:bodyPr/>
        <a:lstStyle/>
        <a:p>
          <a:endParaRPr lang="en-US"/>
        </a:p>
      </dgm:t>
    </dgm:pt>
    <dgm:pt modelId="{3EB66A53-014B-454B-9226-17F54DCEFC3C}" type="sibTrans" cxnId="{A79071EA-B800-405D-90B2-FD64C9384AF3}">
      <dgm:prSet/>
      <dgm:spPr/>
      <dgm:t>
        <a:bodyPr/>
        <a:lstStyle/>
        <a:p>
          <a:endParaRPr lang="en-US"/>
        </a:p>
      </dgm:t>
    </dgm:pt>
    <dgm:pt modelId="{D698B333-EADF-4F84-A5AB-9301DD34F242}">
      <dgm:prSet/>
      <dgm:spPr/>
      <dgm:t>
        <a:bodyPr/>
        <a:lstStyle/>
        <a:p>
          <a:r>
            <a:rPr lang="en-US" noProof="0" dirty="0">
              <a:latin typeface="Calibri" pitchFamily="34" charset="0"/>
            </a:rPr>
            <a:t>Validation at the last deliverable stage</a:t>
          </a:r>
        </a:p>
      </dgm:t>
    </dgm:pt>
    <dgm:pt modelId="{7D9A24DB-726F-42F4-B2B1-4E8D00E2912D}" type="parTrans" cxnId="{D3213530-4994-4B4E-BDE7-2F31DBD5356A}">
      <dgm:prSet/>
      <dgm:spPr/>
      <dgm:t>
        <a:bodyPr/>
        <a:lstStyle/>
        <a:p>
          <a:endParaRPr lang="en-US"/>
        </a:p>
      </dgm:t>
    </dgm:pt>
    <dgm:pt modelId="{E7B136D7-770E-482A-AA32-B15328E31267}" type="sibTrans" cxnId="{D3213530-4994-4B4E-BDE7-2F31DBD5356A}">
      <dgm:prSet/>
      <dgm:spPr/>
      <dgm:t>
        <a:bodyPr/>
        <a:lstStyle/>
        <a:p>
          <a:endParaRPr lang="en-US"/>
        </a:p>
      </dgm:t>
    </dgm:pt>
    <dgm:pt modelId="{8DC016DE-0E92-4392-8EF2-2F8F57DDADC8}">
      <dgm:prSet/>
      <dgm:spPr/>
      <dgm:t>
        <a:bodyPr/>
        <a:lstStyle/>
        <a:p>
          <a:r>
            <a:rPr lang="en-US" noProof="0" dirty="0">
              <a:latin typeface="Calibri" pitchFamily="34" charset="0"/>
            </a:rPr>
            <a:t>Tools oriented approach</a:t>
          </a:r>
        </a:p>
      </dgm:t>
    </dgm:pt>
    <dgm:pt modelId="{1D349463-E3BE-4CF1-B8EE-6CC40C39F0D4}" type="parTrans" cxnId="{40607573-037B-430F-9769-8BC02804EA34}">
      <dgm:prSet/>
      <dgm:spPr/>
      <dgm:t>
        <a:bodyPr/>
        <a:lstStyle/>
        <a:p>
          <a:endParaRPr lang="en-US"/>
        </a:p>
      </dgm:t>
    </dgm:pt>
    <dgm:pt modelId="{3A045BBC-D5B9-4830-A4B2-76FA02FCB4CF}" type="sibTrans" cxnId="{40607573-037B-430F-9769-8BC02804EA34}">
      <dgm:prSet/>
      <dgm:spPr/>
      <dgm:t>
        <a:bodyPr/>
        <a:lstStyle/>
        <a:p>
          <a:endParaRPr lang="en-US"/>
        </a:p>
      </dgm:t>
    </dgm:pt>
    <dgm:pt modelId="{3E4076C3-D42C-45B7-AE06-68212D6714F3}" type="pres">
      <dgm:prSet presAssocID="{B9C32B05-62EA-407A-B21C-2310C7945705}" presName="Name0" presStyleCnt="0">
        <dgm:presLayoutVars>
          <dgm:dir/>
          <dgm:animLvl val="lvl"/>
          <dgm:resizeHandles/>
        </dgm:presLayoutVars>
      </dgm:prSet>
      <dgm:spPr/>
    </dgm:pt>
    <dgm:pt modelId="{B3306FA9-31B2-4688-A162-7E35CFE12D55}" type="pres">
      <dgm:prSet presAssocID="{42D71409-67F9-455C-8C6D-716D284AAA6B}" presName="linNode" presStyleCnt="0"/>
      <dgm:spPr/>
    </dgm:pt>
    <dgm:pt modelId="{5BC9D3B4-AF9C-4AF7-91E0-64CA69BFC99F}" type="pres">
      <dgm:prSet presAssocID="{42D71409-67F9-455C-8C6D-716D284AAA6B}" presName="parentShp" presStyleLbl="node1" presStyleIdx="0" presStyleCnt="4">
        <dgm:presLayoutVars>
          <dgm:bulletEnabled val="1"/>
        </dgm:presLayoutVars>
      </dgm:prSet>
      <dgm:spPr/>
    </dgm:pt>
    <dgm:pt modelId="{388CC475-44FF-4EF6-A0FF-7F5AB70B9092}" type="pres">
      <dgm:prSet presAssocID="{42D71409-67F9-455C-8C6D-716D284AAA6B}" presName="childShp" presStyleLbl="bgAccFollowNode1" presStyleIdx="0" presStyleCnt="4" custScaleX="26407">
        <dgm:presLayoutVars>
          <dgm:bulletEnabled val="1"/>
        </dgm:presLayoutVars>
      </dgm:prSet>
      <dgm:spPr/>
    </dgm:pt>
    <dgm:pt modelId="{230BAF5B-3631-4204-BBA8-52E03CD89186}" type="pres">
      <dgm:prSet presAssocID="{478B7D3C-9FB4-4BC6-90AC-49960560DECD}" presName="spacing" presStyleCnt="0"/>
      <dgm:spPr/>
    </dgm:pt>
    <dgm:pt modelId="{6334A1E6-8B26-49FB-BFAF-1748FBDCBE89}" type="pres">
      <dgm:prSet presAssocID="{366663D8-057F-41FC-A4E7-33421AB89914}" presName="linNode" presStyleCnt="0"/>
      <dgm:spPr/>
    </dgm:pt>
    <dgm:pt modelId="{C2CCEF63-634C-4D78-AC8C-3F4D429FDC05}" type="pres">
      <dgm:prSet presAssocID="{366663D8-057F-41FC-A4E7-33421AB89914}" presName="parentShp" presStyleLbl="node1" presStyleIdx="1" presStyleCnt="4">
        <dgm:presLayoutVars>
          <dgm:bulletEnabled val="1"/>
        </dgm:presLayoutVars>
      </dgm:prSet>
      <dgm:spPr/>
    </dgm:pt>
    <dgm:pt modelId="{D6E33E55-7CBC-4829-AC86-6026E66B94C0}" type="pres">
      <dgm:prSet presAssocID="{366663D8-057F-41FC-A4E7-33421AB89914}" presName="childShp" presStyleLbl="bgAccFollowNode1" presStyleIdx="1" presStyleCnt="4" custScaleX="26407">
        <dgm:presLayoutVars>
          <dgm:bulletEnabled val="1"/>
        </dgm:presLayoutVars>
      </dgm:prSet>
      <dgm:spPr/>
    </dgm:pt>
    <dgm:pt modelId="{6EB007B6-FA30-4F85-8565-5BDE6E2E6A68}" type="pres">
      <dgm:prSet presAssocID="{3EB66A53-014B-454B-9226-17F54DCEFC3C}" presName="spacing" presStyleCnt="0"/>
      <dgm:spPr/>
    </dgm:pt>
    <dgm:pt modelId="{9E5A93D7-E89D-4E84-9E8B-856621A88C5F}" type="pres">
      <dgm:prSet presAssocID="{D698B333-EADF-4F84-A5AB-9301DD34F242}" presName="linNode" presStyleCnt="0"/>
      <dgm:spPr/>
    </dgm:pt>
    <dgm:pt modelId="{E6AD3F7E-70F2-42DF-9148-394CBC172CD2}" type="pres">
      <dgm:prSet presAssocID="{D698B333-EADF-4F84-A5AB-9301DD34F242}" presName="parentShp" presStyleLbl="node1" presStyleIdx="2" presStyleCnt="4">
        <dgm:presLayoutVars>
          <dgm:bulletEnabled val="1"/>
        </dgm:presLayoutVars>
      </dgm:prSet>
      <dgm:spPr/>
    </dgm:pt>
    <dgm:pt modelId="{88B7029B-AE09-47A0-8EDC-1BF164FBAB1B}" type="pres">
      <dgm:prSet presAssocID="{D698B333-EADF-4F84-A5AB-9301DD34F242}" presName="childShp" presStyleLbl="bgAccFollowNode1" presStyleIdx="2" presStyleCnt="4" custFlipHor="0" custScaleX="26407">
        <dgm:presLayoutVars>
          <dgm:bulletEnabled val="1"/>
        </dgm:presLayoutVars>
      </dgm:prSet>
      <dgm:spPr/>
    </dgm:pt>
    <dgm:pt modelId="{9F04BA5F-E3D0-4117-BBA8-5FCC7D6367E6}" type="pres">
      <dgm:prSet presAssocID="{E7B136D7-770E-482A-AA32-B15328E31267}" presName="spacing" presStyleCnt="0"/>
      <dgm:spPr/>
    </dgm:pt>
    <dgm:pt modelId="{7A1098E2-DBC1-4D9C-AC7A-25C136E19484}" type="pres">
      <dgm:prSet presAssocID="{8DC016DE-0E92-4392-8EF2-2F8F57DDADC8}" presName="linNode" presStyleCnt="0"/>
      <dgm:spPr/>
    </dgm:pt>
    <dgm:pt modelId="{F56B193F-A5FA-415D-B67A-374661462EFC}" type="pres">
      <dgm:prSet presAssocID="{8DC016DE-0E92-4392-8EF2-2F8F57DDADC8}" presName="parentShp" presStyleLbl="node1" presStyleIdx="3" presStyleCnt="4">
        <dgm:presLayoutVars>
          <dgm:bulletEnabled val="1"/>
        </dgm:presLayoutVars>
      </dgm:prSet>
      <dgm:spPr/>
    </dgm:pt>
    <dgm:pt modelId="{D83CAC71-BA4B-478D-842E-BF9523242B74}" type="pres">
      <dgm:prSet presAssocID="{8DC016DE-0E92-4392-8EF2-2F8F57DDADC8}" presName="childShp" presStyleLbl="bgAccFollowNode1" presStyleIdx="3" presStyleCnt="4" custScaleX="26407">
        <dgm:presLayoutVars>
          <dgm:bulletEnabled val="1"/>
        </dgm:presLayoutVars>
      </dgm:prSet>
      <dgm:spPr/>
    </dgm:pt>
  </dgm:ptLst>
  <dgm:cxnLst>
    <dgm:cxn modelId="{0792E118-9730-4C6D-B747-F3B4933045FA}" type="presOf" srcId="{B9C32B05-62EA-407A-B21C-2310C7945705}" destId="{3E4076C3-D42C-45B7-AE06-68212D6714F3}" srcOrd="0" destOrd="0" presId="urn:microsoft.com/office/officeart/2005/8/layout/vList6"/>
    <dgm:cxn modelId="{2AA9C11F-1F1D-428E-801A-47EAA766C99D}" srcId="{B9C32B05-62EA-407A-B21C-2310C7945705}" destId="{42D71409-67F9-455C-8C6D-716D284AAA6B}" srcOrd="0" destOrd="0" parTransId="{51680ED1-AF6E-4B28-AE94-92B0EFB0DF7D}" sibTransId="{478B7D3C-9FB4-4BC6-90AC-49960560DECD}"/>
    <dgm:cxn modelId="{D3213530-4994-4B4E-BDE7-2F31DBD5356A}" srcId="{B9C32B05-62EA-407A-B21C-2310C7945705}" destId="{D698B333-EADF-4F84-A5AB-9301DD34F242}" srcOrd="2" destOrd="0" parTransId="{7D9A24DB-726F-42F4-B2B1-4E8D00E2912D}" sibTransId="{E7B136D7-770E-482A-AA32-B15328E31267}"/>
    <dgm:cxn modelId="{40607573-037B-430F-9769-8BC02804EA34}" srcId="{B9C32B05-62EA-407A-B21C-2310C7945705}" destId="{8DC016DE-0E92-4392-8EF2-2F8F57DDADC8}" srcOrd="3" destOrd="0" parTransId="{1D349463-E3BE-4CF1-B8EE-6CC40C39F0D4}" sibTransId="{3A045BBC-D5B9-4830-A4B2-76FA02FCB4CF}"/>
    <dgm:cxn modelId="{FCEBE48F-A637-4A07-B257-FEDE40E5B5F0}" type="presOf" srcId="{8DC016DE-0E92-4392-8EF2-2F8F57DDADC8}" destId="{F56B193F-A5FA-415D-B67A-374661462EFC}" srcOrd="0" destOrd="0" presId="urn:microsoft.com/office/officeart/2005/8/layout/vList6"/>
    <dgm:cxn modelId="{CCF68BB5-E465-4709-A30B-9615EEE45C29}" type="presOf" srcId="{D698B333-EADF-4F84-A5AB-9301DD34F242}" destId="{E6AD3F7E-70F2-42DF-9148-394CBC172CD2}" srcOrd="0" destOrd="0" presId="urn:microsoft.com/office/officeart/2005/8/layout/vList6"/>
    <dgm:cxn modelId="{0995DDBB-7591-4D22-AD67-647132294C17}" type="presOf" srcId="{42D71409-67F9-455C-8C6D-716D284AAA6B}" destId="{5BC9D3B4-AF9C-4AF7-91E0-64CA69BFC99F}" srcOrd="0" destOrd="0" presId="urn:microsoft.com/office/officeart/2005/8/layout/vList6"/>
    <dgm:cxn modelId="{EC08A9C0-E851-49BF-8C39-61D4FCEF3F44}" type="presOf" srcId="{366663D8-057F-41FC-A4E7-33421AB89914}" destId="{C2CCEF63-634C-4D78-AC8C-3F4D429FDC05}" srcOrd="0" destOrd="0" presId="urn:microsoft.com/office/officeart/2005/8/layout/vList6"/>
    <dgm:cxn modelId="{A79071EA-B800-405D-90B2-FD64C9384AF3}" srcId="{B9C32B05-62EA-407A-B21C-2310C7945705}" destId="{366663D8-057F-41FC-A4E7-33421AB89914}" srcOrd="1" destOrd="0" parTransId="{ACE56FCD-FB96-449D-9606-BACBF83717B8}" sibTransId="{3EB66A53-014B-454B-9226-17F54DCEFC3C}"/>
    <dgm:cxn modelId="{C250F2D5-8769-4711-A7BF-AC654D333CC4}" type="presParOf" srcId="{3E4076C3-D42C-45B7-AE06-68212D6714F3}" destId="{B3306FA9-31B2-4688-A162-7E35CFE12D55}" srcOrd="0" destOrd="0" presId="urn:microsoft.com/office/officeart/2005/8/layout/vList6"/>
    <dgm:cxn modelId="{002805AC-5985-469A-98B6-903BF75EB6C6}" type="presParOf" srcId="{B3306FA9-31B2-4688-A162-7E35CFE12D55}" destId="{5BC9D3B4-AF9C-4AF7-91E0-64CA69BFC99F}" srcOrd="0" destOrd="0" presId="urn:microsoft.com/office/officeart/2005/8/layout/vList6"/>
    <dgm:cxn modelId="{68827DCE-2EE3-450D-8A2F-6951D86949A7}" type="presParOf" srcId="{B3306FA9-31B2-4688-A162-7E35CFE12D55}" destId="{388CC475-44FF-4EF6-A0FF-7F5AB70B9092}" srcOrd="1" destOrd="0" presId="urn:microsoft.com/office/officeart/2005/8/layout/vList6"/>
    <dgm:cxn modelId="{8EEC8CDB-DA93-4B6E-9ABC-288C9EC29F50}" type="presParOf" srcId="{3E4076C3-D42C-45B7-AE06-68212D6714F3}" destId="{230BAF5B-3631-4204-BBA8-52E03CD89186}" srcOrd="1" destOrd="0" presId="urn:microsoft.com/office/officeart/2005/8/layout/vList6"/>
    <dgm:cxn modelId="{29A3E665-F43A-4298-AEA4-028CE22CE788}" type="presParOf" srcId="{3E4076C3-D42C-45B7-AE06-68212D6714F3}" destId="{6334A1E6-8B26-49FB-BFAF-1748FBDCBE89}" srcOrd="2" destOrd="0" presId="urn:microsoft.com/office/officeart/2005/8/layout/vList6"/>
    <dgm:cxn modelId="{97BC407E-73C3-439B-BEE7-D922673E2C7C}" type="presParOf" srcId="{6334A1E6-8B26-49FB-BFAF-1748FBDCBE89}" destId="{C2CCEF63-634C-4D78-AC8C-3F4D429FDC05}" srcOrd="0" destOrd="0" presId="urn:microsoft.com/office/officeart/2005/8/layout/vList6"/>
    <dgm:cxn modelId="{D5EFFD03-0DBC-430D-B232-D1996401719F}" type="presParOf" srcId="{6334A1E6-8B26-49FB-BFAF-1748FBDCBE89}" destId="{D6E33E55-7CBC-4829-AC86-6026E66B94C0}" srcOrd="1" destOrd="0" presId="urn:microsoft.com/office/officeart/2005/8/layout/vList6"/>
    <dgm:cxn modelId="{DCF848DF-758F-450D-91C6-06E3A94ED75B}" type="presParOf" srcId="{3E4076C3-D42C-45B7-AE06-68212D6714F3}" destId="{6EB007B6-FA30-4F85-8565-5BDE6E2E6A68}" srcOrd="3" destOrd="0" presId="urn:microsoft.com/office/officeart/2005/8/layout/vList6"/>
    <dgm:cxn modelId="{09D820E5-8926-4A95-B0B7-329A59E4EF5D}" type="presParOf" srcId="{3E4076C3-D42C-45B7-AE06-68212D6714F3}" destId="{9E5A93D7-E89D-4E84-9E8B-856621A88C5F}" srcOrd="4" destOrd="0" presId="urn:microsoft.com/office/officeart/2005/8/layout/vList6"/>
    <dgm:cxn modelId="{8FB10D5A-D998-4503-985E-4B36F91BD07D}" type="presParOf" srcId="{9E5A93D7-E89D-4E84-9E8B-856621A88C5F}" destId="{E6AD3F7E-70F2-42DF-9148-394CBC172CD2}" srcOrd="0" destOrd="0" presId="urn:microsoft.com/office/officeart/2005/8/layout/vList6"/>
    <dgm:cxn modelId="{FAE1F95A-C986-41EF-9EED-8D4E9B0C8839}" type="presParOf" srcId="{9E5A93D7-E89D-4E84-9E8B-856621A88C5F}" destId="{88B7029B-AE09-47A0-8EDC-1BF164FBAB1B}" srcOrd="1" destOrd="0" presId="urn:microsoft.com/office/officeart/2005/8/layout/vList6"/>
    <dgm:cxn modelId="{3FF6F458-87C4-4EB8-A39A-A9B47A050239}" type="presParOf" srcId="{3E4076C3-D42C-45B7-AE06-68212D6714F3}" destId="{9F04BA5F-E3D0-4117-BBA8-5FCC7D6367E6}" srcOrd="5" destOrd="0" presId="urn:microsoft.com/office/officeart/2005/8/layout/vList6"/>
    <dgm:cxn modelId="{894C2AE4-A6CF-4523-8C17-B0E3FD32F561}" type="presParOf" srcId="{3E4076C3-D42C-45B7-AE06-68212D6714F3}" destId="{7A1098E2-DBC1-4D9C-AC7A-25C136E19484}" srcOrd="6" destOrd="0" presId="urn:microsoft.com/office/officeart/2005/8/layout/vList6"/>
    <dgm:cxn modelId="{131B1AA2-6F57-4AF9-A988-B8B2EF15A606}" type="presParOf" srcId="{7A1098E2-DBC1-4D9C-AC7A-25C136E19484}" destId="{F56B193F-A5FA-415D-B67A-374661462EFC}" srcOrd="0" destOrd="0" presId="urn:microsoft.com/office/officeart/2005/8/layout/vList6"/>
    <dgm:cxn modelId="{27930598-75B7-4D65-A54A-2DFE90AF8EC7}" type="presParOf" srcId="{7A1098E2-DBC1-4D9C-AC7A-25C136E19484}" destId="{D83CAC71-BA4B-478D-842E-BF9523242B74}" srcOrd="1" destOrd="0" presId="urn:microsoft.com/office/officeart/2005/8/layout/vList6"/>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9C32B05-62EA-407A-B21C-2310C7945705}" type="doc">
      <dgm:prSet loTypeId="urn:microsoft.com/office/officeart/2005/8/layout/architecture" loCatId="list" qsTypeId="urn:microsoft.com/office/officeart/2005/8/quickstyle/simple4" qsCatId="simple" csTypeId="urn:microsoft.com/office/officeart/2005/8/colors/colorful2" csCatId="colorful" phldr="1"/>
      <dgm:spPr/>
      <dgm:t>
        <a:bodyPr/>
        <a:lstStyle/>
        <a:p>
          <a:endParaRPr lang="en-US"/>
        </a:p>
      </dgm:t>
    </dgm:pt>
    <dgm:pt modelId="{42D71409-67F9-455C-8C6D-716D284AAA6B}">
      <dgm:prSet phldrT="[Text]"/>
      <dgm:spPr/>
      <dgm:t>
        <a:bodyPr/>
        <a:lstStyle/>
        <a:p>
          <a:r>
            <a:rPr lang="en-US" noProof="0" dirty="0"/>
            <a:t>Database module</a:t>
          </a:r>
        </a:p>
      </dgm:t>
    </dgm:pt>
    <dgm:pt modelId="{51680ED1-AF6E-4B28-AE94-92B0EFB0DF7D}" type="parTrans" cxnId="{2AA9C11F-1F1D-428E-801A-47EAA766C99D}">
      <dgm:prSet/>
      <dgm:spPr/>
      <dgm:t>
        <a:bodyPr/>
        <a:lstStyle/>
        <a:p>
          <a:endParaRPr lang="en-US"/>
        </a:p>
      </dgm:t>
    </dgm:pt>
    <dgm:pt modelId="{478B7D3C-9FB4-4BC6-90AC-49960560DECD}" type="sibTrans" cxnId="{2AA9C11F-1F1D-428E-801A-47EAA766C99D}">
      <dgm:prSet/>
      <dgm:spPr/>
      <dgm:t>
        <a:bodyPr/>
        <a:lstStyle/>
        <a:p>
          <a:endParaRPr lang="en-US"/>
        </a:p>
      </dgm:t>
    </dgm:pt>
    <dgm:pt modelId="{09BA98DE-DEC2-4D0D-8490-D3297BBF0088}">
      <dgm:prSet phldrT="[Text]"/>
      <dgm:spPr/>
      <dgm:t>
        <a:bodyPr/>
        <a:lstStyle/>
        <a:p>
          <a:r>
            <a:rPr lang="en-US" noProof="0" dirty="0"/>
            <a:t>WebAPI module</a:t>
          </a:r>
        </a:p>
      </dgm:t>
    </dgm:pt>
    <dgm:pt modelId="{8E89657A-9899-4663-8EBD-CE951A955DD5}" type="parTrans" cxnId="{B74A69C1-DB0A-4823-ABB8-FD9F97D1DF87}">
      <dgm:prSet/>
      <dgm:spPr/>
      <dgm:t>
        <a:bodyPr/>
        <a:lstStyle/>
        <a:p>
          <a:endParaRPr lang="en-US"/>
        </a:p>
      </dgm:t>
    </dgm:pt>
    <dgm:pt modelId="{D9604DA3-0B95-413D-AA9C-D75798C0FF52}" type="sibTrans" cxnId="{B74A69C1-DB0A-4823-ABB8-FD9F97D1DF87}">
      <dgm:prSet/>
      <dgm:spPr/>
      <dgm:t>
        <a:bodyPr/>
        <a:lstStyle/>
        <a:p>
          <a:endParaRPr lang="en-US"/>
        </a:p>
      </dgm:t>
    </dgm:pt>
    <dgm:pt modelId="{A7376EC0-5FEA-48A4-B284-B453C867CA4F}">
      <dgm:prSet phldrT="[Text]"/>
      <dgm:spPr>
        <a:solidFill>
          <a:srgbClr val="D23C00"/>
        </a:solidFill>
      </dgm:spPr>
      <dgm:t>
        <a:bodyPr/>
        <a:lstStyle/>
        <a:p>
          <a:r>
            <a:rPr lang="en-US" b="1" noProof="0" dirty="0"/>
            <a:t>Browser</a:t>
          </a:r>
          <a:br>
            <a:rPr lang="en-US" b="1" noProof="0" dirty="0"/>
          </a:br>
          <a:br>
            <a:rPr lang="en-US" b="1" noProof="0" dirty="0"/>
          </a:br>
          <a:r>
            <a:rPr lang="en-US" b="0" noProof="0" dirty="0"/>
            <a:t>(Selenium) </a:t>
          </a:r>
          <a:br>
            <a:rPr lang="en-US" noProof="0" dirty="0"/>
          </a:br>
          <a:r>
            <a:rPr lang="en-US" noProof="0" dirty="0"/>
            <a:t>UI module               Grid</a:t>
          </a:r>
        </a:p>
      </dgm:t>
    </dgm:pt>
    <dgm:pt modelId="{D8387D70-E1F9-4B42-8EE4-B3BED889F64B}" type="parTrans" cxnId="{AC431E10-8495-40FC-AE68-1DE0241390B0}">
      <dgm:prSet/>
      <dgm:spPr/>
      <dgm:t>
        <a:bodyPr/>
        <a:lstStyle/>
        <a:p>
          <a:endParaRPr lang="en-US"/>
        </a:p>
      </dgm:t>
    </dgm:pt>
    <dgm:pt modelId="{620F1AE9-67A6-43E4-8D4E-A7556D36F8F8}" type="sibTrans" cxnId="{AC431E10-8495-40FC-AE68-1DE0241390B0}">
      <dgm:prSet/>
      <dgm:spPr/>
      <dgm:t>
        <a:bodyPr/>
        <a:lstStyle/>
        <a:p>
          <a:endParaRPr lang="en-US"/>
        </a:p>
      </dgm:t>
    </dgm:pt>
    <dgm:pt modelId="{589892E1-7E9A-4ED2-9A00-ECF59CD9E4E2}">
      <dgm:prSet phldrT="[Text]"/>
      <dgm:spPr>
        <a:solidFill>
          <a:srgbClr val="D23C00"/>
        </a:solidFill>
      </dgm:spPr>
      <dgm:t>
        <a:bodyPr/>
        <a:lstStyle/>
        <a:p>
          <a:r>
            <a:rPr lang="en-US" b="1" noProof="0" dirty="0"/>
            <a:t>Mobile</a:t>
          </a:r>
          <a:br>
            <a:rPr lang="en-US" noProof="0" dirty="0"/>
          </a:br>
          <a:r>
            <a:rPr lang="en-US" noProof="0" dirty="0"/>
            <a:t> </a:t>
          </a:r>
          <a:br>
            <a:rPr lang="en-US" noProof="0" dirty="0"/>
          </a:br>
          <a:r>
            <a:rPr lang="en-US" noProof="0" dirty="0"/>
            <a:t>(Appium) app</a:t>
          </a:r>
          <a:r>
            <a:rPr lang="de-DE" noProof="0" dirty="0"/>
            <a:t>       </a:t>
          </a:r>
          <a:r>
            <a:rPr lang="en-US" noProof="0" dirty="0"/>
            <a:t>Grid</a:t>
          </a:r>
        </a:p>
      </dgm:t>
    </dgm:pt>
    <dgm:pt modelId="{6298D63F-CF36-4C9A-B1AF-B6EC065B8542}" type="parTrans" cxnId="{D68E50A4-4DE3-4F5D-92C6-F68E47329EAA}">
      <dgm:prSet/>
      <dgm:spPr/>
      <dgm:t>
        <a:bodyPr/>
        <a:lstStyle/>
        <a:p>
          <a:endParaRPr lang="en-US"/>
        </a:p>
      </dgm:t>
    </dgm:pt>
    <dgm:pt modelId="{6E27F27E-66F1-4C1C-AB5B-DE1A342F5B80}" type="sibTrans" cxnId="{D68E50A4-4DE3-4F5D-92C6-F68E47329EAA}">
      <dgm:prSet/>
      <dgm:spPr/>
      <dgm:t>
        <a:bodyPr/>
        <a:lstStyle/>
        <a:p>
          <a:endParaRPr lang="en-US"/>
        </a:p>
      </dgm:t>
    </dgm:pt>
    <dgm:pt modelId="{16B3806B-317F-41B0-ABDF-7267C80EC3B2}">
      <dgm:prSet phldrT="[Text]"/>
      <dgm:spPr>
        <a:solidFill>
          <a:srgbClr val="D23C00"/>
        </a:solidFill>
      </dgm:spPr>
      <dgm:t>
        <a:bodyPr/>
        <a:lstStyle/>
        <a:p>
          <a:r>
            <a:rPr lang="en-US" b="1" noProof="0" dirty="0"/>
            <a:t>Standalone</a:t>
          </a:r>
          <a:br>
            <a:rPr lang="en-US" b="1" noProof="0" dirty="0"/>
          </a:br>
          <a:br>
            <a:rPr lang="en-US" b="1" noProof="0" dirty="0"/>
          </a:br>
          <a:r>
            <a:rPr lang="en-US" noProof="0" dirty="0"/>
            <a:t> Application</a:t>
          </a:r>
        </a:p>
      </dgm:t>
    </dgm:pt>
    <dgm:pt modelId="{97DC8A9B-CFD6-40D1-A1ED-398BABE06067}" type="parTrans" cxnId="{5A200011-DE1C-4E4A-8F4A-4D5AD08EE3A9}">
      <dgm:prSet/>
      <dgm:spPr/>
      <dgm:t>
        <a:bodyPr/>
        <a:lstStyle/>
        <a:p>
          <a:endParaRPr lang="en-US"/>
        </a:p>
      </dgm:t>
    </dgm:pt>
    <dgm:pt modelId="{C1409865-ED18-41BE-9B28-662D81AEEE4F}" type="sibTrans" cxnId="{5A200011-DE1C-4E4A-8F4A-4D5AD08EE3A9}">
      <dgm:prSet/>
      <dgm:spPr/>
      <dgm:t>
        <a:bodyPr/>
        <a:lstStyle/>
        <a:p>
          <a:endParaRPr lang="en-US"/>
        </a:p>
      </dgm:t>
    </dgm:pt>
    <dgm:pt modelId="{8E346F4D-76A2-462D-9B44-3650FB2B405C}">
      <dgm:prSet phldrT="[Text]"/>
      <dgm:spPr>
        <a:solidFill>
          <a:srgbClr val="6A9529"/>
        </a:solidFill>
      </dgm:spPr>
      <dgm:t>
        <a:bodyPr/>
        <a:lstStyle/>
        <a:p>
          <a:r>
            <a:rPr lang="en-US" noProof="0" dirty="0"/>
            <a:t>Security module</a:t>
          </a:r>
        </a:p>
      </dgm:t>
    </dgm:pt>
    <dgm:pt modelId="{3F230114-3CC0-45DF-9870-044520BC28C8}" type="parTrans" cxnId="{1D76C90C-838C-4330-B04F-05BE873D410F}">
      <dgm:prSet/>
      <dgm:spPr/>
      <dgm:t>
        <a:bodyPr/>
        <a:lstStyle/>
        <a:p>
          <a:endParaRPr lang="en-US"/>
        </a:p>
      </dgm:t>
    </dgm:pt>
    <dgm:pt modelId="{0F905974-FF65-435B-B2DD-FBC8F1A908F0}" type="sibTrans" cxnId="{1D76C90C-838C-4330-B04F-05BE873D410F}">
      <dgm:prSet/>
      <dgm:spPr/>
      <dgm:t>
        <a:bodyPr/>
        <a:lstStyle/>
        <a:p>
          <a:endParaRPr lang="en-US"/>
        </a:p>
      </dgm:t>
    </dgm:pt>
    <dgm:pt modelId="{6733E3A7-9EE4-4EFF-B65C-61E0B126E302}">
      <dgm:prSet phldrT="[Text]"/>
      <dgm:spPr>
        <a:solidFill>
          <a:srgbClr val="0085B3"/>
        </a:solidFill>
      </dgm:spPr>
      <dgm:t>
        <a:bodyPr/>
        <a:lstStyle/>
        <a:p>
          <a:r>
            <a:rPr lang="en-US" noProof="0" dirty="0"/>
            <a:t>DevOps module</a:t>
          </a:r>
        </a:p>
      </dgm:t>
    </dgm:pt>
    <dgm:pt modelId="{3D98FF0D-B7EB-42FA-8A0C-F97A740C5CC2}" type="parTrans" cxnId="{C4B3FED4-3336-4139-911B-D057D16A48F5}">
      <dgm:prSet/>
      <dgm:spPr/>
      <dgm:t>
        <a:bodyPr/>
        <a:lstStyle/>
        <a:p>
          <a:endParaRPr lang="en-US"/>
        </a:p>
      </dgm:t>
    </dgm:pt>
    <dgm:pt modelId="{C64997DC-0FAE-46D2-807A-F0C151BFA135}" type="sibTrans" cxnId="{C4B3FED4-3336-4139-911B-D057D16A48F5}">
      <dgm:prSet/>
      <dgm:spPr/>
      <dgm:t>
        <a:bodyPr/>
        <a:lstStyle/>
        <a:p>
          <a:endParaRPr lang="en-US"/>
        </a:p>
      </dgm:t>
    </dgm:pt>
    <dgm:pt modelId="{9A65ADEB-F1B5-411F-B9AC-B64E8E60B070}">
      <dgm:prSet phldrT="[Text]"/>
      <dgm:spPr>
        <a:solidFill>
          <a:srgbClr val="0085B3"/>
        </a:solidFill>
      </dgm:spPr>
      <dgm:t>
        <a:bodyPr/>
        <a:lstStyle/>
        <a:p>
          <a:r>
            <a:rPr lang="en-US" noProof="0" dirty="0"/>
            <a:t>Test core module</a:t>
          </a:r>
        </a:p>
      </dgm:t>
    </dgm:pt>
    <dgm:pt modelId="{124EE3FC-3289-4868-83FD-BB361276B47E}" type="parTrans" cxnId="{6933AB0D-D526-4683-90E6-DBCAD5B13CA0}">
      <dgm:prSet/>
      <dgm:spPr/>
      <dgm:t>
        <a:bodyPr/>
        <a:lstStyle/>
        <a:p>
          <a:endParaRPr lang="en-US"/>
        </a:p>
      </dgm:t>
    </dgm:pt>
    <dgm:pt modelId="{80E8A97E-4D14-4268-B043-8933A19483DA}" type="sibTrans" cxnId="{6933AB0D-D526-4683-90E6-DBCAD5B13CA0}">
      <dgm:prSet/>
      <dgm:spPr/>
      <dgm:t>
        <a:bodyPr/>
        <a:lstStyle/>
        <a:p>
          <a:endParaRPr lang="en-US"/>
        </a:p>
      </dgm:t>
    </dgm:pt>
    <dgm:pt modelId="{2B2119DE-9C5F-42BD-90CA-B1F7EF735AF4}" type="pres">
      <dgm:prSet presAssocID="{B9C32B05-62EA-407A-B21C-2310C7945705}" presName="Name0" presStyleCnt="0">
        <dgm:presLayoutVars>
          <dgm:chPref val="1"/>
          <dgm:dir/>
          <dgm:animOne val="branch"/>
          <dgm:animLvl val="lvl"/>
          <dgm:resizeHandles/>
        </dgm:presLayoutVars>
      </dgm:prSet>
      <dgm:spPr/>
    </dgm:pt>
    <dgm:pt modelId="{7B9E2D6A-8969-4EEC-85C2-615B86E0B196}" type="pres">
      <dgm:prSet presAssocID="{42D71409-67F9-455C-8C6D-716D284AAA6B}" presName="vertOne" presStyleCnt="0"/>
      <dgm:spPr/>
    </dgm:pt>
    <dgm:pt modelId="{034D588B-2C5E-413E-8FB3-A45A598FE77E}" type="pres">
      <dgm:prSet presAssocID="{42D71409-67F9-455C-8C6D-716D284AAA6B}" presName="txOne" presStyleLbl="node0" presStyleIdx="0" presStyleCnt="3">
        <dgm:presLayoutVars>
          <dgm:chPref val="3"/>
        </dgm:presLayoutVars>
      </dgm:prSet>
      <dgm:spPr/>
    </dgm:pt>
    <dgm:pt modelId="{155C8750-CD3F-4EED-8869-852B83F3E2B4}" type="pres">
      <dgm:prSet presAssocID="{42D71409-67F9-455C-8C6D-716D284AAA6B}" presName="parTransOne" presStyleCnt="0"/>
      <dgm:spPr/>
    </dgm:pt>
    <dgm:pt modelId="{782F8E29-E0AF-4190-B2CF-FA75DA3E0DD3}" type="pres">
      <dgm:prSet presAssocID="{42D71409-67F9-455C-8C6D-716D284AAA6B}" presName="horzOne" presStyleCnt="0"/>
      <dgm:spPr/>
    </dgm:pt>
    <dgm:pt modelId="{DA72A51A-2648-42DA-A6F5-1368068F74F5}" type="pres">
      <dgm:prSet presAssocID="{8E346F4D-76A2-462D-9B44-3650FB2B405C}" presName="vertTwo" presStyleCnt="0"/>
      <dgm:spPr/>
    </dgm:pt>
    <dgm:pt modelId="{CDB456C7-FEB2-4189-8DB4-859E0B913BE7}" type="pres">
      <dgm:prSet presAssocID="{8E346F4D-76A2-462D-9B44-3650FB2B405C}" presName="txTwo" presStyleLbl="node2" presStyleIdx="0" presStyleCnt="2" custScaleY="205355" custLinFactX="200000" custLinFactNeighborX="201515" custLinFactNeighborY="1925">
        <dgm:presLayoutVars>
          <dgm:chPref val="3"/>
        </dgm:presLayoutVars>
      </dgm:prSet>
      <dgm:spPr/>
    </dgm:pt>
    <dgm:pt modelId="{665A94F3-AC2E-440A-90D8-6366FA2C472B}" type="pres">
      <dgm:prSet presAssocID="{8E346F4D-76A2-462D-9B44-3650FB2B405C}" presName="horzTwo" presStyleCnt="0"/>
      <dgm:spPr/>
    </dgm:pt>
    <dgm:pt modelId="{E8E6822D-8E60-479F-9744-0822855A4470}" type="pres">
      <dgm:prSet presAssocID="{0F905974-FF65-435B-B2DD-FBC8F1A908F0}" presName="sibSpaceTwo" presStyleCnt="0"/>
      <dgm:spPr/>
    </dgm:pt>
    <dgm:pt modelId="{1DEC18CE-0974-4E7A-AE22-5B53857D08A5}" type="pres">
      <dgm:prSet presAssocID="{09BA98DE-DEC2-4D0D-8490-D3297BBF0088}" presName="vertTwo" presStyleCnt="0"/>
      <dgm:spPr/>
    </dgm:pt>
    <dgm:pt modelId="{79946D67-CF20-4533-873C-9747C402A031}" type="pres">
      <dgm:prSet presAssocID="{09BA98DE-DEC2-4D0D-8490-D3297BBF0088}" presName="txTwo" presStyleLbl="node2" presStyleIdx="1" presStyleCnt="2" custScaleX="101726" custLinFactNeighborX="-27838" custLinFactNeighborY="25308">
        <dgm:presLayoutVars>
          <dgm:chPref val="3"/>
        </dgm:presLayoutVars>
      </dgm:prSet>
      <dgm:spPr/>
    </dgm:pt>
    <dgm:pt modelId="{11A9DFF6-0FBF-42E2-AC9E-E9078967B9F6}" type="pres">
      <dgm:prSet presAssocID="{09BA98DE-DEC2-4D0D-8490-D3297BBF0088}" presName="parTransTwo" presStyleCnt="0"/>
      <dgm:spPr/>
    </dgm:pt>
    <dgm:pt modelId="{B536D2A5-09A8-40A9-B9B2-95A40A490E97}" type="pres">
      <dgm:prSet presAssocID="{09BA98DE-DEC2-4D0D-8490-D3297BBF0088}" presName="horzTwo" presStyleCnt="0"/>
      <dgm:spPr/>
    </dgm:pt>
    <dgm:pt modelId="{CC689BD4-6667-4A02-BE0B-05FBA1E9DFEE}" type="pres">
      <dgm:prSet presAssocID="{A7376EC0-5FEA-48A4-B284-B453C867CA4F}" presName="vertThree" presStyleCnt="0"/>
      <dgm:spPr/>
    </dgm:pt>
    <dgm:pt modelId="{7951CDCD-4F97-4CCA-8C56-4992B72B07BB}" type="pres">
      <dgm:prSet presAssocID="{A7376EC0-5FEA-48A4-B284-B453C867CA4F}" presName="txThree" presStyleLbl="node3" presStyleIdx="0" presStyleCnt="3" custScaleX="137055" custLinFactX="-10668" custLinFactNeighborX="-100000" custLinFactNeighborY="8130">
        <dgm:presLayoutVars>
          <dgm:chPref val="3"/>
        </dgm:presLayoutVars>
      </dgm:prSet>
      <dgm:spPr/>
    </dgm:pt>
    <dgm:pt modelId="{5AA5A2CD-9B6E-4706-AD2B-726846A26241}" type="pres">
      <dgm:prSet presAssocID="{A7376EC0-5FEA-48A4-B284-B453C867CA4F}" presName="horzThree" presStyleCnt="0"/>
      <dgm:spPr/>
    </dgm:pt>
    <dgm:pt modelId="{3774BBD5-FDE4-40E1-B05B-37017133E0FA}" type="pres">
      <dgm:prSet presAssocID="{620F1AE9-67A6-43E4-8D4E-A7556D36F8F8}" presName="sibSpaceThree" presStyleCnt="0"/>
      <dgm:spPr/>
    </dgm:pt>
    <dgm:pt modelId="{6F748793-9F52-45C0-BB7D-F70EE9ADCD11}" type="pres">
      <dgm:prSet presAssocID="{589892E1-7E9A-4ED2-9A00-ECF59CD9E4E2}" presName="vertThree" presStyleCnt="0"/>
      <dgm:spPr/>
    </dgm:pt>
    <dgm:pt modelId="{D8A6C93A-917D-4567-B16D-E30EEE8A93BD}" type="pres">
      <dgm:prSet presAssocID="{589892E1-7E9A-4ED2-9A00-ECF59CD9E4E2}" presName="txThree" presStyleLbl="node3" presStyleIdx="1" presStyleCnt="3" custScaleX="139559" custLinFactX="-7099" custLinFactNeighborX="-100000" custLinFactNeighborY="8130">
        <dgm:presLayoutVars>
          <dgm:chPref val="3"/>
        </dgm:presLayoutVars>
      </dgm:prSet>
      <dgm:spPr/>
    </dgm:pt>
    <dgm:pt modelId="{EF0B39D7-3444-41FC-AA5E-204BA04CE20B}" type="pres">
      <dgm:prSet presAssocID="{589892E1-7E9A-4ED2-9A00-ECF59CD9E4E2}" presName="horzThree" presStyleCnt="0"/>
      <dgm:spPr/>
    </dgm:pt>
    <dgm:pt modelId="{0C74B5B8-1BB4-4CC1-B901-4409ED4551A1}" type="pres">
      <dgm:prSet presAssocID="{6E27F27E-66F1-4C1C-AB5B-DE1A342F5B80}" presName="sibSpaceThree" presStyleCnt="0"/>
      <dgm:spPr/>
    </dgm:pt>
    <dgm:pt modelId="{46B34DDF-9C3B-405B-9CAC-1D39BDBC2EEE}" type="pres">
      <dgm:prSet presAssocID="{16B3806B-317F-41B0-ABDF-7267C80EC3B2}" presName="vertThree" presStyleCnt="0"/>
      <dgm:spPr/>
    </dgm:pt>
    <dgm:pt modelId="{9A46057F-5CDA-4B57-BF6D-897D216AF86F}" type="pres">
      <dgm:prSet presAssocID="{16B3806B-317F-41B0-ABDF-7267C80EC3B2}" presName="txThree" presStyleLbl="node3" presStyleIdx="2" presStyleCnt="3" custLinFactX="-3851" custLinFactNeighborX="-100000" custLinFactNeighborY="8339">
        <dgm:presLayoutVars>
          <dgm:chPref val="3"/>
        </dgm:presLayoutVars>
      </dgm:prSet>
      <dgm:spPr/>
    </dgm:pt>
    <dgm:pt modelId="{DBC56214-4432-4434-8518-707CDC63F5BF}" type="pres">
      <dgm:prSet presAssocID="{16B3806B-317F-41B0-ABDF-7267C80EC3B2}" presName="horzThree" presStyleCnt="0"/>
      <dgm:spPr/>
    </dgm:pt>
    <dgm:pt modelId="{38DD3712-FE5D-4944-89FA-AD709564BD3A}" type="pres">
      <dgm:prSet presAssocID="{478B7D3C-9FB4-4BC6-90AC-49960560DECD}" presName="sibSpaceOne" presStyleCnt="0"/>
      <dgm:spPr/>
    </dgm:pt>
    <dgm:pt modelId="{1C4B8FF2-A5B4-46BA-942A-8A19BEE69F70}" type="pres">
      <dgm:prSet presAssocID="{6733E3A7-9EE4-4EFF-B65C-61E0B126E302}" presName="vertOne" presStyleCnt="0"/>
      <dgm:spPr/>
    </dgm:pt>
    <dgm:pt modelId="{1F321622-6935-42D4-AE83-D556256DD586}" type="pres">
      <dgm:prSet presAssocID="{6733E3A7-9EE4-4EFF-B65C-61E0B126E302}" presName="txOne" presStyleLbl="node0" presStyleIdx="1" presStyleCnt="3" custScaleY="315634" custLinFactX="3762" custLinFactNeighborX="100000" custLinFactNeighborY="3199">
        <dgm:presLayoutVars>
          <dgm:chPref val="3"/>
        </dgm:presLayoutVars>
      </dgm:prSet>
      <dgm:spPr/>
    </dgm:pt>
    <dgm:pt modelId="{824137B6-FDCD-4837-BBD2-6FDD09327885}" type="pres">
      <dgm:prSet presAssocID="{6733E3A7-9EE4-4EFF-B65C-61E0B126E302}" presName="horzOne" presStyleCnt="0"/>
      <dgm:spPr/>
    </dgm:pt>
    <dgm:pt modelId="{ECE19E2B-8C42-4059-9124-AF3EDDEFF355}" type="pres">
      <dgm:prSet presAssocID="{C64997DC-0FAE-46D2-807A-F0C151BFA135}" presName="sibSpaceOne" presStyleCnt="0"/>
      <dgm:spPr/>
    </dgm:pt>
    <dgm:pt modelId="{915571E0-40F3-4E75-A71C-E935FB4D94B6}" type="pres">
      <dgm:prSet presAssocID="{9A65ADEB-F1B5-411F-B9AC-B64E8E60B070}" presName="vertOne" presStyleCnt="0"/>
      <dgm:spPr/>
    </dgm:pt>
    <dgm:pt modelId="{AF9421C1-0977-4165-AE01-1E0941FF1DC2}" type="pres">
      <dgm:prSet presAssocID="{9A65ADEB-F1B5-411F-B9AC-B64E8E60B070}" presName="txOne" presStyleLbl="node0" presStyleIdx="2" presStyleCnt="3" custScaleY="314215" custLinFactX="-23206" custLinFactNeighborX="-100000" custLinFactNeighborY="3199">
        <dgm:presLayoutVars>
          <dgm:chPref val="3"/>
        </dgm:presLayoutVars>
      </dgm:prSet>
      <dgm:spPr/>
    </dgm:pt>
    <dgm:pt modelId="{870B6F6E-AE96-4262-9B4A-86C432C82D5E}" type="pres">
      <dgm:prSet presAssocID="{9A65ADEB-F1B5-411F-B9AC-B64E8E60B070}" presName="horzOne" presStyleCnt="0"/>
      <dgm:spPr/>
    </dgm:pt>
  </dgm:ptLst>
  <dgm:cxnLst>
    <dgm:cxn modelId="{1D76C90C-838C-4330-B04F-05BE873D410F}" srcId="{42D71409-67F9-455C-8C6D-716D284AAA6B}" destId="{8E346F4D-76A2-462D-9B44-3650FB2B405C}" srcOrd="0" destOrd="0" parTransId="{3F230114-3CC0-45DF-9870-044520BC28C8}" sibTransId="{0F905974-FF65-435B-B2DD-FBC8F1A908F0}"/>
    <dgm:cxn modelId="{6933AB0D-D526-4683-90E6-DBCAD5B13CA0}" srcId="{B9C32B05-62EA-407A-B21C-2310C7945705}" destId="{9A65ADEB-F1B5-411F-B9AC-B64E8E60B070}" srcOrd="2" destOrd="0" parTransId="{124EE3FC-3289-4868-83FD-BB361276B47E}" sibTransId="{80E8A97E-4D14-4268-B043-8933A19483DA}"/>
    <dgm:cxn modelId="{AC431E10-8495-40FC-AE68-1DE0241390B0}" srcId="{09BA98DE-DEC2-4D0D-8490-D3297BBF0088}" destId="{A7376EC0-5FEA-48A4-B284-B453C867CA4F}" srcOrd="0" destOrd="0" parTransId="{D8387D70-E1F9-4B42-8EE4-B3BED889F64B}" sibTransId="{620F1AE9-67A6-43E4-8D4E-A7556D36F8F8}"/>
    <dgm:cxn modelId="{5A200011-DE1C-4E4A-8F4A-4D5AD08EE3A9}" srcId="{09BA98DE-DEC2-4D0D-8490-D3297BBF0088}" destId="{16B3806B-317F-41B0-ABDF-7267C80EC3B2}" srcOrd="2" destOrd="0" parTransId="{97DC8A9B-CFD6-40D1-A1ED-398BABE06067}" sibTransId="{C1409865-ED18-41BE-9B28-662D81AEEE4F}"/>
    <dgm:cxn modelId="{2AA9C11F-1F1D-428E-801A-47EAA766C99D}" srcId="{B9C32B05-62EA-407A-B21C-2310C7945705}" destId="{42D71409-67F9-455C-8C6D-716D284AAA6B}" srcOrd="0" destOrd="0" parTransId="{51680ED1-AF6E-4B28-AE94-92B0EFB0DF7D}" sibTransId="{478B7D3C-9FB4-4BC6-90AC-49960560DECD}"/>
    <dgm:cxn modelId="{002FC724-4458-4399-95F0-DD0F4F499922}" type="presOf" srcId="{16B3806B-317F-41B0-ABDF-7267C80EC3B2}" destId="{9A46057F-5CDA-4B57-BF6D-897D216AF86F}" srcOrd="0" destOrd="0" presId="urn:microsoft.com/office/officeart/2005/8/layout/architecture"/>
    <dgm:cxn modelId="{3848107F-1EC9-41DA-9709-110B9520907B}" type="presOf" srcId="{9A65ADEB-F1B5-411F-B9AC-B64E8E60B070}" destId="{AF9421C1-0977-4165-AE01-1E0941FF1DC2}" srcOrd="0" destOrd="0" presId="urn:microsoft.com/office/officeart/2005/8/layout/architecture"/>
    <dgm:cxn modelId="{3623D780-5387-46E8-AB13-C4DFDB623A42}" type="presOf" srcId="{589892E1-7E9A-4ED2-9A00-ECF59CD9E4E2}" destId="{D8A6C93A-917D-4567-B16D-E30EEE8A93BD}" srcOrd="0" destOrd="0" presId="urn:microsoft.com/office/officeart/2005/8/layout/architecture"/>
    <dgm:cxn modelId="{B5BB75A2-75EA-45EB-8742-400484136508}" type="presOf" srcId="{42D71409-67F9-455C-8C6D-716D284AAA6B}" destId="{034D588B-2C5E-413E-8FB3-A45A598FE77E}" srcOrd="0" destOrd="0" presId="urn:microsoft.com/office/officeart/2005/8/layout/architecture"/>
    <dgm:cxn modelId="{D68E50A4-4DE3-4F5D-92C6-F68E47329EAA}" srcId="{09BA98DE-DEC2-4D0D-8490-D3297BBF0088}" destId="{589892E1-7E9A-4ED2-9A00-ECF59CD9E4E2}" srcOrd="1" destOrd="0" parTransId="{6298D63F-CF36-4C9A-B1AF-B6EC065B8542}" sibTransId="{6E27F27E-66F1-4C1C-AB5B-DE1A342F5B80}"/>
    <dgm:cxn modelId="{124E45AB-71B7-4AA3-93A4-777C21DB6D38}" type="presOf" srcId="{8E346F4D-76A2-462D-9B44-3650FB2B405C}" destId="{CDB456C7-FEB2-4189-8DB4-859E0B913BE7}" srcOrd="0" destOrd="0" presId="urn:microsoft.com/office/officeart/2005/8/layout/architecture"/>
    <dgm:cxn modelId="{85758AB2-7FA5-4983-B8C3-CF9A18B6A5C4}" type="presOf" srcId="{B9C32B05-62EA-407A-B21C-2310C7945705}" destId="{2B2119DE-9C5F-42BD-90CA-B1F7EF735AF4}" srcOrd="0" destOrd="0" presId="urn:microsoft.com/office/officeart/2005/8/layout/architecture"/>
    <dgm:cxn modelId="{B74A69C1-DB0A-4823-ABB8-FD9F97D1DF87}" srcId="{42D71409-67F9-455C-8C6D-716D284AAA6B}" destId="{09BA98DE-DEC2-4D0D-8490-D3297BBF0088}" srcOrd="1" destOrd="0" parTransId="{8E89657A-9899-4663-8EBD-CE951A955DD5}" sibTransId="{D9604DA3-0B95-413D-AA9C-D75798C0FF52}"/>
    <dgm:cxn modelId="{C9D60DC9-07F2-4CD3-9E00-049CE783ACA8}" type="presOf" srcId="{09BA98DE-DEC2-4D0D-8490-D3297BBF0088}" destId="{79946D67-CF20-4533-873C-9747C402A031}" srcOrd="0" destOrd="0" presId="urn:microsoft.com/office/officeart/2005/8/layout/architecture"/>
    <dgm:cxn modelId="{C4B3FED4-3336-4139-911B-D057D16A48F5}" srcId="{B9C32B05-62EA-407A-B21C-2310C7945705}" destId="{6733E3A7-9EE4-4EFF-B65C-61E0B126E302}" srcOrd="1" destOrd="0" parTransId="{3D98FF0D-B7EB-42FA-8A0C-F97A740C5CC2}" sibTransId="{C64997DC-0FAE-46D2-807A-F0C151BFA135}"/>
    <dgm:cxn modelId="{38F8C9DE-DC6A-4715-8D05-6E0F9F505229}" type="presOf" srcId="{6733E3A7-9EE4-4EFF-B65C-61E0B126E302}" destId="{1F321622-6935-42D4-AE83-D556256DD586}" srcOrd="0" destOrd="0" presId="urn:microsoft.com/office/officeart/2005/8/layout/architecture"/>
    <dgm:cxn modelId="{DC080EEE-C8F8-432A-9B34-FDF0D0788651}" type="presOf" srcId="{A7376EC0-5FEA-48A4-B284-B453C867CA4F}" destId="{7951CDCD-4F97-4CCA-8C56-4992B72B07BB}" srcOrd="0" destOrd="0" presId="urn:microsoft.com/office/officeart/2005/8/layout/architecture"/>
    <dgm:cxn modelId="{588ED00D-4D6E-4088-9E8D-BCCC2424DD94}" type="presParOf" srcId="{2B2119DE-9C5F-42BD-90CA-B1F7EF735AF4}" destId="{7B9E2D6A-8969-4EEC-85C2-615B86E0B196}" srcOrd="0" destOrd="0" presId="urn:microsoft.com/office/officeart/2005/8/layout/architecture"/>
    <dgm:cxn modelId="{C97FA7B9-3909-40BF-B4E7-698253C30DEE}" type="presParOf" srcId="{7B9E2D6A-8969-4EEC-85C2-615B86E0B196}" destId="{034D588B-2C5E-413E-8FB3-A45A598FE77E}" srcOrd="0" destOrd="0" presId="urn:microsoft.com/office/officeart/2005/8/layout/architecture"/>
    <dgm:cxn modelId="{2FDF27A4-2071-4D91-832C-1D0E824C97EE}" type="presParOf" srcId="{7B9E2D6A-8969-4EEC-85C2-615B86E0B196}" destId="{155C8750-CD3F-4EED-8869-852B83F3E2B4}" srcOrd="1" destOrd="0" presId="urn:microsoft.com/office/officeart/2005/8/layout/architecture"/>
    <dgm:cxn modelId="{F7805FE9-C163-464E-B2FD-34C97683CE23}" type="presParOf" srcId="{7B9E2D6A-8969-4EEC-85C2-615B86E0B196}" destId="{782F8E29-E0AF-4190-B2CF-FA75DA3E0DD3}" srcOrd="2" destOrd="0" presId="urn:microsoft.com/office/officeart/2005/8/layout/architecture"/>
    <dgm:cxn modelId="{EAC7ED76-45F9-46D9-B363-0B1ED5A6C101}" type="presParOf" srcId="{782F8E29-E0AF-4190-B2CF-FA75DA3E0DD3}" destId="{DA72A51A-2648-42DA-A6F5-1368068F74F5}" srcOrd="0" destOrd="0" presId="urn:microsoft.com/office/officeart/2005/8/layout/architecture"/>
    <dgm:cxn modelId="{ED9ACF08-EA60-4810-A7D5-8FFDB5F8FEF4}" type="presParOf" srcId="{DA72A51A-2648-42DA-A6F5-1368068F74F5}" destId="{CDB456C7-FEB2-4189-8DB4-859E0B913BE7}" srcOrd="0" destOrd="0" presId="urn:microsoft.com/office/officeart/2005/8/layout/architecture"/>
    <dgm:cxn modelId="{6430F1B7-057D-46F2-B94D-921901844116}" type="presParOf" srcId="{DA72A51A-2648-42DA-A6F5-1368068F74F5}" destId="{665A94F3-AC2E-440A-90D8-6366FA2C472B}" srcOrd="1" destOrd="0" presId="urn:microsoft.com/office/officeart/2005/8/layout/architecture"/>
    <dgm:cxn modelId="{CBF70580-475F-453E-9A5A-AF61C9E75B29}" type="presParOf" srcId="{782F8E29-E0AF-4190-B2CF-FA75DA3E0DD3}" destId="{E8E6822D-8E60-479F-9744-0822855A4470}" srcOrd="1" destOrd="0" presId="urn:microsoft.com/office/officeart/2005/8/layout/architecture"/>
    <dgm:cxn modelId="{8FEBE56A-4162-43B4-B195-1B9FB2C616C3}" type="presParOf" srcId="{782F8E29-E0AF-4190-B2CF-FA75DA3E0DD3}" destId="{1DEC18CE-0974-4E7A-AE22-5B53857D08A5}" srcOrd="2" destOrd="0" presId="urn:microsoft.com/office/officeart/2005/8/layout/architecture"/>
    <dgm:cxn modelId="{C80E0332-E069-4734-8D42-D75A106EDB37}" type="presParOf" srcId="{1DEC18CE-0974-4E7A-AE22-5B53857D08A5}" destId="{79946D67-CF20-4533-873C-9747C402A031}" srcOrd="0" destOrd="0" presId="urn:microsoft.com/office/officeart/2005/8/layout/architecture"/>
    <dgm:cxn modelId="{4A60400B-D40E-4162-A216-C95875A8DDEF}" type="presParOf" srcId="{1DEC18CE-0974-4E7A-AE22-5B53857D08A5}" destId="{11A9DFF6-0FBF-42E2-AC9E-E9078967B9F6}" srcOrd="1" destOrd="0" presId="urn:microsoft.com/office/officeart/2005/8/layout/architecture"/>
    <dgm:cxn modelId="{D521B28E-F6F9-4995-A0E4-BAAC36A49F70}" type="presParOf" srcId="{1DEC18CE-0974-4E7A-AE22-5B53857D08A5}" destId="{B536D2A5-09A8-40A9-B9B2-95A40A490E97}" srcOrd="2" destOrd="0" presId="urn:microsoft.com/office/officeart/2005/8/layout/architecture"/>
    <dgm:cxn modelId="{A622562E-592E-402C-857E-8625E8F1BDD3}" type="presParOf" srcId="{B536D2A5-09A8-40A9-B9B2-95A40A490E97}" destId="{CC689BD4-6667-4A02-BE0B-05FBA1E9DFEE}" srcOrd="0" destOrd="0" presId="urn:microsoft.com/office/officeart/2005/8/layout/architecture"/>
    <dgm:cxn modelId="{52D56F2C-5A95-42D2-904E-6F330E57990B}" type="presParOf" srcId="{CC689BD4-6667-4A02-BE0B-05FBA1E9DFEE}" destId="{7951CDCD-4F97-4CCA-8C56-4992B72B07BB}" srcOrd="0" destOrd="0" presId="urn:microsoft.com/office/officeart/2005/8/layout/architecture"/>
    <dgm:cxn modelId="{11BCAA80-CFC8-4841-82A1-BB672751907C}" type="presParOf" srcId="{CC689BD4-6667-4A02-BE0B-05FBA1E9DFEE}" destId="{5AA5A2CD-9B6E-4706-AD2B-726846A26241}" srcOrd="1" destOrd="0" presId="urn:microsoft.com/office/officeart/2005/8/layout/architecture"/>
    <dgm:cxn modelId="{7D9883E2-F95F-454B-8809-BE91834652EE}" type="presParOf" srcId="{B536D2A5-09A8-40A9-B9B2-95A40A490E97}" destId="{3774BBD5-FDE4-40E1-B05B-37017133E0FA}" srcOrd="1" destOrd="0" presId="urn:microsoft.com/office/officeart/2005/8/layout/architecture"/>
    <dgm:cxn modelId="{C16804A8-D2E4-44D5-86AB-4F64C5B6FA22}" type="presParOf" srcId="{B536D2A5-09A8-40A9-B9B2-95A40A490E97}" destId="{6F748793-9F52-45C0-BB7D-F70EE9ADCD11}" srcOrd="2" destOrd="0" presId="urn:microsoft.com/office/officeart/2005/8/layout/architecture"/>
    <dgm:cxn modelId="{D1815D0A-850A-4B3D-9531-BC794754C24A}" type="presParOf" srcId="{6F748793-9F52-45C0-BB7D-F70EE9ADCD11}" destId="{D8A6C93A-917D-4567-B16D-E30EEE8A93BD}" srcOrd="0" destOrd="0" presId="urn:microsoft.com/office/officeart/2005/8/layout/architecture"/>
    <dgm:cxn modelId="{E8833218-0FB4-4556-B6B2-F39CB23A9DA9}" type="presParOf" srcId="{6F748793-9F52-45C0-BB7D-F70EE9ADCD11}" destId="{EF0B39D7-3444-41FC-AA5E-204BA04CE20B}" srcOrd="1" destOrd="0" presId="urn:microsoft.com/office/officeart/2005/8/layout/architecture"/>
    <dgm:cxn modelId="{420D2430-74B1-48CE-BDA0-13B2D1A9EC49}" type="presParOf" srcId="{B536D2A5-09A8-40A9-B9B2-95A40A490E97}" destId="{0C74B5B8-1BB4-4CC1-B901-4409ED4551A1}" srcOrd="3" destOrd="0" presId="urn:microsoft.com/office/officeart/2005/8/layout/architecture"/>
    <dgm:cxn modelId="{2A9FB6BE-ECA8-4E66-B9DF-86BEA700D0CE}" type="presParOf" srcId="{B536D2A5-09A8-40A9-B9B2-95A40A490E97}" destId="{46B34DDF-9C3B-405B-9CAC-1D39BDBC2EEE}" srcOrd="4" destOrd="0" presId="urn:microsoft.com/office/officeart/2005/8/layout/architecture"/>
    <dgm:cxn modelId="{369B2DC3-AB1D-488E-8909-BF02FF476E2C}" type="presParOf" srcId="{46B34DDF-9C3B-405B-9CAC-1D39BDBC2EEE}" destId="{9A46057F-5CDA-4B57-BF6D-897D216AF86F}" srcOrd="0" destOrd="0" presId="urn:microsoft.com/office/officeart/2005/8/layout/architecture"/>
    <dgm:cxn modelId="{112D863C-F6F5-468A-87A3-52921F992089}" type="presParOf" srcId="{46B34DDF-9C3B-405B-9CAC-1D39BDBC2EEE}" destId="{DBC56214-4432-4434-8518-707CDC63F5BF}" srcOrd="1" destOrd="0" presId="urn:microsoft.com/office/officeart/2005/8/layout/architecture"/>
    <dgm:cxn modelId="{0044AE15-1BC1-48E4-9C4B-8C0B9EBC5877}" type="presParOf" srcId="{2B2119DE-9C5F-42BD-90CA-B1F7EF735AF4}" destId="{38DD3712-FE5D-4944-89FA-AD709564BD3A}" srcOrd="1" destOrd="0" presId="urn:microsoft.com/office/officeart/2005/8/layout/architecture"/>
    <dgm:cxn modelId="{BFE25075-50F9-4614-89CC-9FF3EE6181B3}" type="presParOf" srcId="{2B2119DE-9C5F-42BD-90CA-B1F7EF735AF4}" destId="{1C4B8FF2-A5B4-46BA-942A-8A19BEE69F70}" srcOrd="2" destOrd="0" presId="urn:microsoft.com/office/officeart/2005/8/layout/architecture"/>
    <dgm:cxn modelId="{6D28225A-FF24-4581-B1AC-791605E51324}" type="presParOf" srcId="{1C4B8FF2-A5B4-46BA-942A-8A19BEE69F70}" destId="{1F321622-6935-42D4-AE83-D556256DD586}" srcOrd="0" destOrd="0" presId="urn:microsoft.com/office/officeart/2005/8/layout/architecture"/>
    <dgm:cxn modelId="{45186672-D8FA-4311-A3FA-AE333BF3778C}" type="presParOf" srcId="{1C4B8FF2-A5B4-46BA-942A-8A19BEE69F70}" destId="{824137B6-FDCD-4837-BBD2-6FDD09327885}" srcOrd="1" destOrd="0" presId="urn:microsoft.com/office/officeart/2005/8/layout/architecture"/>
    <dgm:cxn modelId="{DC483457-9AB1-406E-9A07-07316D2386AE}" type="presParOf" srcId="{2B2119DE-9C5F-42BD-90CA-B1F7EF735AF4}" destId="{ECE19E2B-8C42-4059-9124-AF3EDDEFF355}" srcOrd="3" destOrd="0" presId="urn:microsoft.com/office/officeart/2005/8/layout/architecture"/>
    <dgm:cxn modelId="{F56D0C17-D924-4CA8-86D6-5F5D5B9652EE}" type="presParOf" srcId="{2B2119DE-9C5F-42BD-90CA-B1F7EF735AF4}" destId="{915571E0-40F3-4E75-A71C-E935FB4D94B6}" srcOrd="4" destOrd="0" presId="urn:microsoft.com/office/officeart/2005/8/layout/architecture"/>
    <dgm:cxn modelId="{4B51DD50-2846-4DC9-AE5B-7D89FFCE37FD}" type="presParOf" srcId="{915571E0-40F3-4E75-A71C-E935FB4D94B6}" destId="{AF9421C1-0977-4165-AE01-1E0941FF1DC2}" srcOrd="0" destOrd="0" presId="urn:microsoft.com/office/officeart/2005/8/layout/architecture"/>
    <dgm:cxn modelId="{1F02656D-0A23-4A49-A9E1-D1AD141D40D8}" type="presParOf" srcId="{915571E0-40F3-4E75-A71C-E935FB4D94B6}" destId="{870B6F6E-AE96-4262-9B4A-86C432C82D5E}" srcOrd="1" destOrd="0" presId="urn:microsoft.com/office/officeart/2005/8/layout/architecture"/>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160D3D4-613A-4519-A481-F89ADD5F7320}" type="doc">
      <dgm:prSet loTypeId="urn:microsoft.com/office/officeart/2005/8/layout/pyramid1" loCatId="pyramid" qsTypeId="urn:microsoft.com/office/officeart/2005/8/quickstyle/3d1" qsCatId="3D" csTypeId="urn:microsoft.com/office/officeart/2005/8/colors/accent5_3" csCatId="accent5" phldr="1"/>
      <dgm:spPr/>
    </dgm:pt>
    <dgm:pt modelId="{F7E37FBC-8099-4DB3-B4F8-DBDE0DCEC1D7}">
      <dgm:prSet phldrT="[Text]" custT="1"/>
      <dgm:spPr>
        <a:solidFill>
          <a:srgbClr val="D23C00"/>
        </a:solidFill>
      </dgm:spPr>
      <dgm:t>
        <a:bodyPr/>
        <a:lstStyle/>
        <a:p>
          <a:br>
            <a:rPr lang="pl-PL" sz="2400" dirty="0"/>
          </a:br>
          <a:r>
            <a:rPr lang="en-US" sz="2400" b="1" dirty="0">
              <a:solidFill>
                <a:schemeClr val="bg1"/>
              </a:solidFill>
            </a:rPr>
            <a:t>UI</a:t>
          </a:r>
        </a:p>
      </dgm:t>
    </dgm:pt>
    <dgm:pt modelId="{4DE24ECE-3EB3-4587-A9D2-7675F7253B81}" type="parTrans" cxnId="{523B1973-54E8-4340-8BEC-4990CC12CCAB}">
      <dgm:prSet/>
      <dgm:spPr/>
      <dgm:t>
        <a:bodyPr/>
        <a:lstStyle/>
        <a:p>
          <a:endParaRPr lang="en-US" sz="3200"/>
        </a:p>
      </dgm:t>
    </dgm:pt>
    <dgm:pt modelId="{A4184C1B-393D-4ED0-B75D-4EBB166314F0}" type="sibTrans" cxnId="{523B1973-54E8-4340-8BEC-4990CC12CCAB}">
      <dgm:prSet/>
      <dgm:spPr/>
      <dgm:t>
        <a:bodyPr/>
        <a:lstStyle/>
        <a:p>
          <a:endParaRPr lang="en-US" sz="3200"/>
        </a:p>
      </dgm:t>
    </dgm:pt>
    <dgm:pt modelId="{6ED7E280-935A-4740-AB58-C0FAE580BFA8}">
      <dgm:prSet phldrT="[Text]" custT="1"/>
      <dgm:spPr>
        <a:solidFill>
          <a:schemeClr val="accent3"/>
        </a:solidFill>
      </dgm:spPr>
      <dgm:t>
        <a:bodyPr/>
        <a:lstStyle/>
        <a:p>
          <a:r>
            <a:rPr lang="en-US" sz="2400" b="1" dirty="0">
              <a:solidFill>
                <a:schemeClr val="bg1"/>
              </a:solidFill>
            </a:rPr>
            <a:t>API</a:t>
          </a:r>
        </a:p>
      </dgm:t>
    </dgm:pt>
    <dgm:pt modelId="{5557C28B-0EA8-4FB7-83D5-63A8425867B0}" type="parTrans" cxnId="{C8800816-4F59-4A4E-935C-FBF3F6068543}">
      <dgm:prSet/>
      <dgm:spPr/>
      <dgm:t>
        <a:bodyPr/>
        <a:lstStyle/>
        <a:p>
          <a:endParaRPr lang="en-US" sz="3200"/>
        </a:p>
      </dgm:t>
    </dgm:pt>
    <dgm:pt modelId="{B82D1D0A-4B79-4939-A9FC-741F1AD7AD1B}" type="sibTrans" cxnId="{C8800816-4F59-4A4E-935C-FBF3F6068543}">
      <dgm:prSet/>
      <dgm:spPr/>
      <dgm:t>
        <a:bodyPr/>
        <a:lstStyle/>
        <a:p>
          <a:endParaRPr lang="en-US" sz="3200"/>
        </a:p>
      </dgm:t>
    </dgm:pt>
    <dgm:pt modelId="{40285531-BAEE-43E6-BBD4-8249575B1878}">
      <dgm:prSet phldrT="[Text]" custT="1"/>
      <dgm:spPr>
        <a:solidFill>
          <a:schemeClr val="accent1"/>
        </a:solidFill>
      </dgm:spPr>
      <dgm:t>
        <a:bodyPr/>
        <a:lstStyle/>
        <a:p>
          <a:r>
            <a:rPr lang="pl-PL" sz="2400" b="1" dirty="0">
              <a:solidFill>
                <a:schemeClr val="bg1"/>
              </a:solidFill>
            </a:rPr>
            <a:t>BACKEND</a:t>
          </a:r>
          <a:endParaRPr lang="en-US" sz="2400" b="1" dirty="0">
            <a:solidFill>
              <a:schemeClr val="bg1"/>
            </a:solidFill>
          </a:endParaRPr>
        </a:p>
      </dgm:t>
    </dgm:pt>
    <dgm:pt modelId="{02C1CD83-DAFB-41CF-8A55-71BDDE805E6F}" type="parTrans" cxnId="{43B32424-97BD-4835-930A-AAF69C57FCAF}">
      <dgm:prSet/>
      <dgm:spPr/>
      <dgm:t>
        <a:bodyPr/>
        <a:lstStyle/>
        <a:p>
          <a:endParaRPr lang="en-US" sz="3200"/>
        </a:p>
      </dgm:t>
    </dgm:pt>
    <dgm:pt modelId="{A3A07BDC-2C6D-43A8-9A05-A9E100E8AB15}" type="sibTrans" cxnId="{43B32424-97BD-4835-930A-AAF69C57FCAF}">
      <dgm:prSet/>
      <dgm:spPr/>
      <dgm:t>
        <a:bodyPr/>
        <a:lstStyle/>
        <a:p>
          <a:endParaRPr lang="en-US" sz="3200"/>
        </a:p>
      </dgm:t>
    </dgm:pt>
    <dgm:pt modelId="{891CA3F0-A4E4-43F8-949C-180B2AB3BCFE}" type="pres">
      <dgm:prSet presAssocID="{6160D3D4-613A-4519-A481-F89ADD5F7320}" presName="Name0" presStyleCnt="0">
        <dgm:presLayoutVars>
          <dgm:dir/>
          <dgm:animLvl val="lvl"/>
          <dgm:resizeHandles val="exact"/>
        </dgm:presLayoutVars>
      </dgm:prSet>
      <dgm:spPr/>
    </dgm:pt>
    <dgm:pt modelId="{24A053E9-ED32-40AA-8B2A-BD33F0C11AE2}" type="pres">
      <dgm:prSet presAssocID="{F7E37FBC-8099-4DB3-B4F8-DBDE0DCEC1D7}" presName="Name8" presStyleCnt="0"/>
      <dgm:spPr/>
    </dgm:pt>
    <dgm:pt modelId="{9BFA4AC6-E825-4477-B889-F9C66C1195B8}" type="pres">
      <dgm:prSet presAssocID="{F7E37FBC-8099-4DB3-B4F8-DBDE0DCEC1D7}" presName="level" presStyleLbl="node1" presStyleIdx="0" presStyleCnt="3" custScaleY="66687" custLinFactNeighborX="502">
        <dgm:presLayoutVars>
          <dgm:chMax val="1"/>
          <dgm:bulletEnabled val="1"/>
        </dgm:presLayoutVars>
      </dgm:prSet>
      <dgm:spPr/>
    </dgm:pt>
    <dgm:pt modelId="{7008F9DC-B4CA-4C47-ACF8-16602824A142}" type="pres">
      <dgm:prSet presAssocID="{F7E37FBC-8099-4DB3-B4F8-DBDE0DCEC1D7}" presName="levelTx" presStyleLbl="revTx" presStyleIdx="0" presStyleCnt="0">
        <dgm:presLayoutVars>
          <dgm:chMax val="1"/>
          <dgm:bulletEnabled val="1"/>
        </dgm:presLayoutVars>
      </dgm:prSet>
      <dgm:spPr/>
    </dgm:pt>
    <dgm:pt modelId="{141F8D72-3F15-4CC5-95F4-F3EA15242490}" type="pres">
      <dgm:prSet presAssocID="{6ED7E280-935A-4740-AB58-C0FAE580BFA8}" presName="Name8" presStyleCnt="0"/>
      <dgm:spPr/>
    </dgm:pt>
    <dgm:pt modelId="{3DF1A04F-9824-4FA2-8E9B-69197A34DB02}" type="pres">
      <dgm:prSet presAssocID="{6ED7E280-935A-4740-AB58-C0FAE580BFA8}" presName="level" presStyleLbl="node1" presStyleIdx="1" presStyleCnt="3" custScaleY="63097" custLinFactNeighborX="524" custLinFactNeighborY="347">
        <dgm:presLayoutVars>
          <dgm:chMax val="1"/>
          <dgm:bulletEnabled val="1"/>
        </dgm:presLayoutVars>
      </dgm:prSet>
      <dgm:spPr/>
    </dgm:pt>
    <dgm:pt modelId="{B615F79F-706C-4309-9FFC-D94774F354E8}" type="pres">
      <dgm:prSet presAssocID="{6ED7E280-935A-4740-AB58-C0FAE580BFA8}" presName="levelTx" presStyleLbl="revTx" presStyleIdx="0" presStyleCnt="0">
        <dgm:presLayoutVars>
          <dgm:chMax val="1"/>
          <dgm:bulletEnabled val="1"/>
        </dgm:presLayoutVars>
      </dgm:prSet>
      <dgm:spPr/>
    </dgm:pt>
    <dgm:pt modelId="{6B315756-5F49-4E5C-B814-8281ACC31042}" type="pres">
      <dgm:prSet presAssocID="{40285531-BAEE-43E6-BBD4-8249575B1878}" presName="Name8" presStyleCnt="0"/>
      <dgm:spPr/>
    </dgm:pt>
    <dgm:pt modelId="{D9074314-C21A-447C-9E4D-59C6F495C412}" type="pres">
      <dgm:prSet presAssocID="{40285531-BAEE-43E6-BBD4-8249575B1878}" presName="level" presStyleLbl="node1" presStyleIdx="2" presStyleCnt="3" custScaleY="64367" custLinFactNeighborY="3926">
        <dgm:presLayoutVars>
          <dgm:chMax val="1"/>
          <dgm:bulletEnabled val="1"/>
        </dgm:presLayoutVars>
      </dgm:prSet>
      <dgm:spPr/>
    </dgm:pt>
    <dgm:pt modelId="{9A3F85C7-0AE1-424E-8646-B4248B01294E}" type="pres">
      <dgm:prSet presAssocID="{40285531-BAEE-43E6-BBD4-8249575B1878}" presName="levelTx" presStyleLbl="revTx" presStyleIdx="0" presStyleCnt="0">
        <dgm:presLayoutVars>
          <dgm:chMax val="1"/>
          <dgm:bulletEnabled val="1"/>
        </dgm:presLayoutVars>
      </dgm:prSet>
      <dgm:spPr/>
    </dgm:pt>
  </dgm:ptLst>
  <dgm:cxnLst>
    <dgm:cxn modelId="{C8800816-4F59-4A4E-935C-FBF3F6068543}" srcId="{6160D3D4-613A-4519-A481-F89ADD5F7320}" destId="{6ED7E280-935A-4740-AB58-C0FAE580BFA8}" srcOrd="1" destOrd="0" parTransId="{5557C28B-0EA8-4FB7-83D5-63A8425867B0}" sibTransId="{B82D1D0A-4B79-4939-A9FC-741F1AD7AD1B}"/>
    <dgm:cxn modelId="{43B32424-97BD-4835-930A-AAF69C57FCAF}" srcId="{6160D3D4-613A-4519-A481-F89ADD5F7320}" destId="{40285531-BAEE-43E6-BBD4-8249575B1878}" srcOrd="2" destOrd="0" parTransId="{02C1CD83-DAFB-41CF-8A55-71BDDE805E6F}" sibTransId="{A3A07BDC-2C6D-43A8-9A05-A9E100E8AB15}"/>
    <dgm:cxn modelId="{4EA2C925-908F-4C27-A9F3-5C76AEE51B61}" type="presOf" srcId="{6160D3D4-613A-4519-A481-F89ADD5F7320}" destId="{891CA3F0-A4E4-43F8-949C-180B2AB3BCFE}" srcOrd="0" destOrd="0" presId="urn:microsoft.com/office/officeart/2005/8/layout/pyramid1"/>
    <dgm:cxn modelId="{A769AD2B-715C-43AE-B436-5B0C72192B8D}" type="presOf" srcId="{6ED7E280-935A-4740-AB58-C0FAE580BFA8}" destId="{B615F79F-706C-4309-9FFC-D94774F354E8}" srcOrd="1" destOrd="0" presId="urn:microsoft.com/office/officeart/2005/8/layout/pyramid1"/>
    <dgm:cxn modelId="{9A71CE3F-A6D5-4FFD-A4D8-D2BFE9FE0B27}" type="presOf" srcId="{F7E37FBC-8099-4DB3-B4F8-DBDE0DCEC1D7}" destId="{9BFA4AC6-E825-4477-B889-F9C66C1195B8}" srcOrd="0" destOrd="0" presId="urn:microsoft.com/office/officeart/2005/8/layout/pyramid1"/>
    <dgm:cxn modelId="{8B46DA40-4381-43BD-8721-1A1FA3A4F438}" type="presOf" srcId="{40285531-BAEE-43E6-BBD4-8249575B1878}" destId="{D9074314-C21A-447C-9E4D-59C6F495C412}" srcOrd="0" destOrd="0" presId="urn:microsoft.com/office/officeart/2005/8/layout/pyramid1"/>
    <dgm:cxn modelId="{B80BF05C-8BA1-4215-BC15-3C60460F2903}" type="presOf" srcId="{40285531-BAEE-43E6-BBD4-8249575B1878}" destId="{9A3F85C7-0AE1-424E-8646-B4248B01294E}" srcOrd="1" destOrd="0" presId="urn:microsoft.com/office/officeart/2005/8/layout/pyramid1"/>
    <dgm:cxn modelId="{523B1973-54E8-4340-8BEC-4990CC12CCAB}" srcId="{6160D3D4-613A-4519-A481-F89ADD5F7320}" destId="{F7E37FBC-8099-4DB3-B4F8-DBDE0DCEC1D7}" srcOrd="0" destOrd="0" parTransId="{4DE24ECE-3EB3-4587-A9D2-7675F7253B81}" sibTransId="{A4184C1B-393D-4ED0-B75D-4EBB166314F0}"/>
    <dgm:cxn modelId="{4661BB91-236C-451F-8003-F0C9E1F6CF49}" type="presOf" srcId="{6ED7E280-935A-4740-AB58-C0FAE580BFA8}" destId="{3DF1A04F-9824-4FA2-8E9B-69197A34DB02}" srcOrd="0" destOrd="0" presId="urn:microsoft.com/office/officeart/2005/8/layout/pyramid1"/>
    <dgm:cxn modelId="{0C7EAAB3-726B-4E86-8F9A-407ABD76C817}" type="presOf" srcId="{F7E37FBC-8099-4DB3-B4F8-DBDE0DCEC1D7}" destId="{7008F9DC-B4CA-4C47-ACF8-16602824A142}" srcOrd="1" destOrd="0" presId="urn:microsoft.com/office/officeart/2005/8/layout/pyramid1"/>
    <dgm:cxn modelId="{DB16B996-9949-4B46-AF90-8C6961794919}" type="presParOf" srcId="{891CA3F0-A4E4-43F8-949C-180B2AB3BCFE}" destId="{24A053E9-ED32-40AA-8B2A-BD33F0C11AE2}" srcOrd="0" destOrd="0" presId="urn:microsoft.com/office/officeart/2005/8/layout/pyramid1"/>
    <dgm:cxn modelId="{94FA46C1-DEE7-4365-A5F2-E6357A3A6940}" type="presParOf" srcId="{24A053E9-ED32-40AA-8B2A-BD33F0C11AE2}" destId="{9BFA4AC6-E825-4477-B889-F9C66C1195B8}" srcOrd="0" destOrd="0" presId="urn:microsoft.com/office/officeart/2005/8/layout/pyramid1"/>
    <dgm:cxn modelId="{BA6AB8EA-F657-46EE-AFD4-5D01DFD016BD}" type="presParOf" srcId="{24A053E9-ED32-40AA-8B2A-BD33F0C11AE2}" destId="{7008F9DC-B4CA-4C47-ACF8-16602824A142}" srcOrd="1" destOrd="0" presId="urn:microsoft.com/office/officeart/2005/8/layout/pyramid1"/>
    <dgm:cxn modelId="{6516AEF7-DDC5-4BCE-9794-1906551092AB}" type="presParOf" srcId="{891CA3F0-A4E4-43F8-949C-180B2AB3BCFE}" destId="{141F8D72-3F15-4CC5-95F4-F3EA15242490}" srcOrd="1" destOrd="0" presId="urn:microsoft.com/office/officeart/2005/8/layout/pyramid1"/>
    <dgm:cxn modelId="{E16A9FBB-F2CF-4373-A8EB-6731B5D42307}" type="presParOf" srcId="{141F8D72-3F15-4CC5-95F4-F3EA15242490}" destId="{3DF1A04F-9824-4FA2-8E9B-69197A34DB02}" srcOrd="0" destOrd="0" presId="urn:microsoft.com/office/officeart/2005/8/layout/pyramid1"/>
    <dgm:cxn modelId="{9322B9AB-48D4-452F-BAB1-718065BF448A}" type="presParOf" srcId="{141F8D72-3F15-4CC5-95F4-F3EA15242490}" destId="{B615F79F-706C-4309-9FFC-D94774F354E8}" srcOrd="1" destOrd="0" presId="urn:microsoft.com/office/officeart/2005/8/layout/pyramid1"/>
    <dgm:cxn modelId="{45532CB4-A93A-4001-8F63-681FC0807BBE}" type="presParOf" srcId="{891CA3F0-A4E4-43F8-949C-180B2AB3BCFE}" destId="{6B315756-5F49-4E5C-B814-8281ACC31042}" srcOrd="2" destOrd="0" presId="urn:microsoft.com/office/officeart/2005/8/layout/pyramid1"/>
    <dgm:cxn modelId="{BB806D34-3E32-4DFF-997C-490B1E51A3D7}" type="presParOf" srcId="{6B315756-5F49-4E5C-B814-8281ACC31042}" destId="{D9074314-C21A-447C-9E4D-59C6F495C412}" srcOrd="0" destOrd="0" presId="urn:microsoft.com/office/officeart/2005/8/layout/pyramid1"/>
    <dgm:cxn modelId="{3B9DE464-D075-4F72-9EB2-C94FCDD5B3E5}" type="presParOf" srcId="{6B315756-5F49-4E5C-B814-8281ACC31042}" destId="{9A3F85C7-0AE1-424E-8646-B4248B01294E}" srcOrd="1" destOrd="0" presId="urn:microsoft.com/office/officeart/2005/8/layout/pyramid1"/>
  </dgm:cxnLst>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77C30E-8723-45C7-92D3-3F64CD1D5E48}" type="doc">
      <dgm:prSet loTypeId="urn:microsoft.com/office/officeart/2005/8/layout/process1" loCatId="process" qsTypeId="urn:microsoft.com/office/officeart/2005/8/quickstyle/simple4" qsCatId="simple" csTypeId="urn:microsoft.com/office/officeart/2005/8/colors/accent0_3" csCatId="mainScheme" phldr="1"/>
      <dgm:spPr/>
      <dgm:t>
        <a:bodyPr/>
        <a:lstStyle/>
        <a:p>
          <a:endParaRPr lang="en-US"/>
        </a:p>
      </dgm:t>
    </dgm:pt>
    <dgm:pt modelId="{143A4E02-20CD-4372-9A73-4BA06B7ED65F}">
      <dgm:prSet phldrT="[Text]"/>
      <dgm:spPr/>
      <dgm:t>
        <a:bodyPr/>
        <a:lstStyle/>
        <a:p>
          <a:r>
            <a:rPr lang="en-US" noProof="0" dirty="0"/>
            <a:t>#1</a:t>
          </a:r>
          <a:br>
            <a:rPr lang="en-US" noProof="0" dirty="0"/>
          </a:br>
          <a:r>
            <a:rPr lang="en-US" noProof="0" dirty="0"/>
            <a:t>Download</a:t>
          </a:r>
        </a:p>
      </dgm:t>
    </dgm:pt>
    <dgm:pt modelId="{934DFA12-A2CE-4416-A18E-902030531C6E}" type="parTrans" cxnId="{14413C86-43A6-435F-B785-D2BD70DD68FD}">
      <dgm:prSet/>
      <dgm:spPr/>
      <dgm:t>
        <a:bodyPr/>
        <a:lstStyle/>
        <a:p>
          <a:endParaRPr lang="en-US"/>
        </a:p>
      </dgm:t>
    </dgm:pt>
    <dgm:pt modelId="{1467F9FA-41F3-403D-B41D-8FA630C30519}" type="sibTrans" cxnId="{14413C86-43A6-435F-B785-D2BD70DD68FD}">
      <dgm:prSet/>
      <dgm:spPr/>
      <dgm:t>
        <a:bodyPr/>
        <a:lstStyle/>
        <a:p>
          <a:endParaRPr lang="en-US" dirty="0"/>
        </a:p>
      </dgm:t>
    </dgm:pt>
    <dgm:pt modelId="{C8A0EA2D-5DBD-4FF9-BA27-0E98D99F5D3A}">
      <dgm:prSet phldrT="[Text]"/>
      <dgm:spPr/>
      <dgm:t>
        <a:bodyPr/>
        <a:lstStyle/>
        <a:p>
          <a:r>
            <a:rPr lang="en-US" noProof="0" dirty="0"/>
            <a:t>#2</a:t>
          </a:r>
          <a:br>
            <a:rPr lang="en-US" noProof="0" dirty="0"/>
          </a:br>
          <a:r>
            <a:rPr lang="en-US" noProof="0" dirty="0"/>
            <a:t>Start</a:t>
          </a:r>
        </a:p>
      </dgm:t>
    </dgm:pt>
    <dgm:pt modelId="{8F94715D-3833-41F6-8C75-C5802AD24E37}" type="parTrans" cxnId="{0A4E45FF-4712-45CE-AC88-A048C8B2751E}">
      <dgm:prSet/>
      <dgm:spPr/>
      <dgm:t>
        <a:bodyPr/>
        <a:lstStyle/>
        <a:p>
          <a:endParaRPr lang="en-US"/>
        </a:p>
      </dgm:t>
    </dgm:pt>
    <dgm:pt modelId="{5391C863-4A76-47F3-B1F4-B0830579771A}" type="sibTrans" cxnId="{0A4E45FF-4712-45CE-AC88-A048C8B2751E}">
      <dgm:prSet/>
      <dgm:spPr/>
      <dgm:t>
        <a:bodyPr/>
        <a:lstStyle/>
        <a:p>
          <a:endParaRPr lang="en-US" dirty="0"/>
        </a:p>
      </dgm:t>
    </dgm:pt>
    <dgm:pt modelId="{776E72AA-520D-4C2D-8499-99D9B74B126B}">
      <dgm:prSet phldrT="[Text]"/>
      <dgm:spPr/>
      <dgm:t>
        <a:bodyPr/>
        <a:lstStyle/>
        <a:p>
          <a:r>
            <a:rPr lang="en-US" noProof="0" dirty="0"/>
            <a:t>#4</a:t>
          </a:r>
          <a:br>
            <a:rPr lang="en-US" noProof="0" dirty="0"/>
          </a:br>
          <a:r>
            <a:rPr lang="en-US" noProof="0" dirty="0"/>
            <a:t>Automate your own test case</a:t>
          </a:r>
        </a:p>
      </dgm:t>
    </dgm:pt>
    <dgm:pt modelId="{6F6F3C45-23C6-4E76-BF04-7026A0F06A35}" type="parTrans" cxnId="{9F514928-43CB-48C8-B85D-57BB1162B9CC}">
      <dgm:prSet/>
      <dgm:spPr/>
      <dgm:t>
        <a:bodyPr/>
        <a:lstStyle/>
        <a:p>
          <a:endParaRPr lang="en-US"/>
        </a:p>
      </dgm:t>
    </dgm:pt>
    <dgm:pt modelId="{CD86778A-CDC9-4400-94FE-44CD7A8C635D}" type="sibTrans" cxnId="{9F514928-43CB-48C8-B85D-57BB1162B9CC}">
      <dgm:prSet/>
      <dgm:spPr/>
      <dgm:t>
        <a:bodyPr/>
        <a:lstStyle/>
        <a:p>
          <a:endParaRPr lang="en-US"/>
        </a:p>
      </dgm:t>
    </dgm:pt>
    <dgm:pt modelId="{E18EC5B1-A96F-4C93-B3B2-185E8340AC63}">
      <dgm:prSet phldrT="[Text]"/>
      <dgm:spPr/>
      <dgm:t>
        <a:bodyPr/>
        <a:lstStyle/>
        <a:p>
          <a:r>
            <a:rPr lang="en-US" noProof="0" dirty="0"/>
            <a:t>#3</a:t>
          </a:r>
          <a:br>
            <a:rPr lang="en-US" noProof="0" dirty="0"/>
          </a:br>
          <a:r>
            <a:rPr lang="en-US" noProof="0" dirty="0"/>
            <a:t> Run sample</a:t>
          </a:r>
        </a:p>
        <a:p>
          <a:r>
            <a:rPr lang="en-US" noProof="0" dirty="0"/>
            <a:t>test</a:t>
          </a:r>
        </a:p>
      </dgm:t>
    </dgm:pt>
    <dgm:pt modelId="{20C9D5BB-EF0A-48B8-9765-90AE44DEA860}" type="parTrans" cxnId="{FE9A729D-81AB-46D3-BE20-1064A5292B55}">
      <dgm:prSet/>
      <dgm:spPr/>
      <dgm:t>
        <a:bodyPr/>
        <a:lstStyle/>
        <a:p>
          <a:endParaRPr lang="en-US"/>
        </a:p>
      </dgm:t>
    </dgm:pt>
    <dgm:pt modelId="{C6E2CF4F-637F-4CC2-B098-9134B1734669}" type="sibTrans" cxnId="{FE9A729D-81AB-46D3-BE20-1064A5292B55}">
      <dgm:prSet/>
      <dgm:spPr/>
      <dgm:t>
        <a:bodyPr/>
        <a:lstStyle/>
        <a:p>
          <a:endParaRPr lang="en-US" dirty="0"/>
        </a:p>
      </dgm:t>
    </dgm:pt>
    <dgm:pt modelId="{927B3D1D-FBEF-4256-ABF9-9175FD60F1AE}" type="pres">
      <dgm:prSet presAssocID="{C877C30E-8723-45C7-92D3-3F64CD1D5E48}" presName="Name0" presStyleCnt="0">
        <dgm:presLayoutVars>
          <dgm:dir/>
          <dgm:resizeHandles val="exact"/>
        </dgm:presLayoutVars>
      </dgm:prSet>
      <dgm:spPr/>
    </dgm:pt>
    <dgm:pt modelId="{AA03AF60-5464-4E48-899B-D31FA0656C33}" type="pres">
      <dgm:prSet presAssocID="{143A4E02-20CD-4372-9A73-4BA06B7ED65F}" presName="node" presStyleLbl="node1" presStyleIdx="0" presStyleCnt="4" custLinFactNeighborX="-572" custLinFactNeighborY="-98106">
        <dgm:presLayoutVars>
          <dgm:bulletEnabled val="1"/>
        </dgm:presLayoutVars>
      </dgm:prSet>
      <dgm:spPr/>
    </dgm:pt>
    <dgm:pt modelId="{49FE3B05-AF4E-4678-881E-9EA50954566C}" type="pres">
      <dgm:prSet presAssocID="{1467F9FA-41F3-403D-B41D-8FA630C30519}" presName="sibTrans" presStyleLbl="sibTrans2D1" presStyleIdx="0" presStyleCnt="3"/>
      <dgm:spPr/>
    </dgm:pt>
    <dgm:pt modelId="{7BF73856-28DE-4AC1-B3E2-968DEB009EB3}" type="pres">
      <dgm:prSet presAssocID="{1467F9FA-41F3-403D-B41D-8FA630C30519}" presName="connectorText" presStyleLbl="sibTrans2D1" presStyleIdx="0" presStyleCnt="3"/>
      <dgm:spPr/>
    </dgm:pt>
    <dgm:pt modelId="{649B34E5-4863-4D0F-BCD4-55A5287FDAF5}" type="pres">
      <dgm:prSet presAssocID="{C8A0EA2D-5DBD-4FF9-BA27-0E98D99F5D3A}" presName="node" presStyleLbl="node1" presStyleIdx="1" presStyleCnt="4" custLinFactNeighborX="-572" custLinFactNeighborY="-98106">
        <dgm:presLayoutVars>
          <dgm:bulletEnabled val="1"/>
        </dgm:presLayoutVars>
      </dgm:prSet>
      <dgm:spPr/>
    </dgm:pt>
    <dgm:pt modelId="{B4443672-828A-4A48-93F9-03A657ECA254}" type="pres">
      <dgm:prSet presAssocID="{5391C863-4A76-47F3-B1F4-B0830579771A}" presName="sibTrans" presStyleLbl="sibTrans2D1" presStyleIdx="1" presStyleCnt="3"/>
      <dgm:spPr/>
    </dgm:pt>
    <dgm:pt modelId="{ED808FDF-9431-4C9F-9682-F07894253894}" type="pres">
      <dgm:prSet presAssocID="{5391C863-4A76-47F3-B1F4-B0830579771A}" presName="connectorText" presStyleLbl="sibTrans2D1" presStyleIdx="1" presStyleCnt="3"/>
      <dgm:spPr/>
    </dgm:pt>
    <dgm:pt modelId="{EDDD978F-65F0-456F-9889-3D6DD3E7E92B}" type="pres">
      <dgm:prSet presAssocID="{E18EC5B1-A96F-4C93-B3B2-185E8340AC63}" presName="node" presStyleLbl="node1" presStyleIdx="2" presStyleCnt="4" custLinFactNeighborX="-572" custLinFactNeighborY="-98106">
        <dgm:presLayoutVars>
          <dgm:bulletEnabled val="1"/>
        </dgm:presLayoutVars>
      </dgm:prSet>
      <dgm:spPr/>
    </dgm:pt>
    <dgm:pt modelId="{013569CA-863E-44BD-A32D-1143B0CB0D8E}" type="pres">
      <dgm:prSet presAssocID="{C6E2CF4F-637F-4CC2-B098-9134B1734669}" presName="sibTrans" presStyleLbl="sibTrans2D1" presStyleIdx="2" presStyleCnt="3"/>
      <dgm:spPr/>
    </dgm:pt>
    <dgm:pt modelId="{BD2C0719-08B2-4F64-94C0-20C7B7C410CB}" type="pres">
      <dgm:prSet presAssocID="{C6E2CF4F-637F-4CC2-B098-9134B1734669}" presName="connectorText" presStyleLbl="sibTrans2D1" presStyleIdx="2" presStyleCnt="3"/>
      <dgm:spPr/>
    </dgm:pt>
    <dgm:pt modelId="{B7130B30-4016-4BA9-8B28-D2CA4AF740B8}" type="pres">
      <dgm:prSet presAssocID="{776E72AA-520D-4C2D-8499-99D9B74B126B}" presName="node" presStyleLbl="node1" presStyleIdx="3" presStyleCnt="4" custLinFactNeighborX="-572" custLinFactNeighborY="-98106">
        <dgm:presLayoutVars>
          <dgm:bulletEnabled val="1"/>
        </dgm:presLayoutVars>
      </dgm:prSet>
      <dgm:spPr/>
    </dgm:pt>
  </dgm:ptLst>
  <dgm:cxnLst>
    <dgm:cxn modelId="{542C5203-6CB3-46DB-BAC4-A737F7E016E2}" type="presOf" srcId="{C6E2CF4F-637F-4CC2-B098-9134B1734669}" destId="{013569CA-863E-44BD-A32D-1143B0CB0D8E}" srcOrd="0" destOrd="0" presId="urn:microsoft.com/office/officeart/2005/8/layout/process1"/>
    <dgm:cxn modelId="{9F514928-43CB-48C8-B85D-57BB1162B9CC}" srcId="{C877C30E-8723-45C7-92D3-3F64CD1D5E48}" destId="{776E72AA-520D-4C2D-8499-99D9B74B126B}" srcOrd="3" destOrd="0" parTransId="{6F6F3C45-23C6-4E76-BF04-7026A0F06A35}" sibTransId="{CD86778A-CDC9-4400-94FE-44CD7A8C635D}"/>
    <dgm:cxn modelId="{D5098231-E66B-4DD5-AB3F-70A0A4232115}" type="presOf" srcId="{143A4E02-20CD-4372-9A73-4BA06B7ED65F}" destId="{AA03AF60-5464-4E48-899B-D31FA0656C33}" srcOrd="0" destOrd="0" presId="urn:microsoft.com/office/officeart/2005/8/layout/process1"/>
    <dgm:cxn modelId="{9EDCF035-2094-4108-86E5-4869F496D677}" type="presOf" srcId="{1467F9FA-41F3-403D-B41D-8FA630C30519}" destId="{7BF73856-28DE-4AC1-B3E2-968DEB009EB3}" srcOrd="1" destOrd="0" presId="urn:microsoft.com/office/officeart/2005/8/layout/process1"/>
    <dgm:cxn modelId="{F6D89565-E509-4D21-B63C-3504FC36918F}" type="presOf" srcId="{C8A0EA2D-5DBD-4FF9-BA27-0E98D99F5D3A}" destId="{649B34E5-4863-4D0F-BCD4-55A5287FDAF5}" srcOrd="0" destOrd="0" presId="urn:microsoft.com/office/officeart/2005/8/layout/process1"/>
    <dgm:cxn modelId="{BB00344B-DE07-459A-AEDB-0517F267C300}" type="presOf" srcId="{E18EC5B1-A96F-4C93-B3B2-185E8340AC63}" destId="{EDDD978F-65F0-456F-9889-3D6DD3E7E92B}" srcOrd="0" destOrd="0" presId="urn:microsoft.com/office/officeart/2005/8/layout/process1"/>
    <dgm:cxn modelId="{58A4AF76-A0BD-4338-9325-84D1005B0B95}" type="presOf" srcId="{1467F9FA-41F3-403D-B41D-8FA630C30519}" destId="{49FE3B05-AF4E-4678-881E-9EA50954566C}" srcOrd="0" destOrd="0" presId="urn:microsoft.com/office/officeart/2005/8/layout/process1"/>
    <dgm:cxn modelId="{23889657-2A3E-42A0-81BB-E6BA670F58A5}" type="presOf" srcId="{C6E2CF4F-637F-4CC2-B098-9134B1734669}" destId="{BD2C0719-08B2-4F64-94C0-20C7B7C410CB}" srcOrd="1" destOrd="0" presId="urn:microsoft.com/office/officeart/2005/8/layout/process1"/>
    <dgm:cxn modelId="{14413C86-43A6-435F-B785-D2BD70DD68FD}" srcId="{C877C30E-8723-45C7-92D3-3F64CD1D5E48}" destId="{143A4E02-20CD-4372-9A73-4BA06B7ED65F}" srcOrd="0" destOrd="0" parTransId="{934DFA12-A2CE-4416-A18E-902030531C6E}" sibTransId="{1467F9FA-41F3-403D-B41D-8FA630C30519}"/>
    <dgm:cxn modelId="{E3457F8C-61C9-407E-AD5D-C90248011C70}" type="presOf" srcId="{5391C863-4A76-47F3-B1F4-B0830579771A}" destId="{ED808FDF-9431-4C9F-9682-F07894253894}" srcOrd="1" destOrd="0" presId="urn:microsoft.com/office/officeart/2005/8/layout/process1"/>
    <dgm:cxn modelId="{FE9A729D-81AB-46D3-BE20-1064A5292B55}" srcId="{C877C30E-8723-45C7-92D3-3F64CD1D5E48}" destId="{E18EC5B1-A96F-4C93-B3B2-185E8340AC63}" srcOrd="2" destOrd="0" parTransId="{20C9D5BB-EF0A-48B8-9765-90AE44DEA860}" sibTransId="{C6E2CF4F-637F-4CC2-B098-9134B1734669}"/>
    <dgm:cxn modelId="{9E7F12A3-FCF7-4CFB-ADF5-5B474B2BE759}" type="presOf" srcId="{5391C863-4A76-47F3-B1F4-B0830579771A}" destId="{B4443672-828A-4A48-93F9-03A657ECA254}" srcOrd="0" destOrd="0" presId="urn:microsoft.com/office/officeart/2005/8/layout/process1"/>
    <dgm:cxn modelId="{FE57B2B2-100D-43D0-96AD-42653A47CB93}" type="presOf" srcId="{C877C30E-8723-45C7-92D3-3F64CD1D5E48}" destId="{927B3D1D-FBEF-4256-ABF9-9175FD60F1AE}" srcOrd="0" destOrd="0" presId="urn:microsoft.com/office/officeart/2005/8/layout/process1"/>
    <dgm:cxn modelId="{4C3DD1D8-2BA6-4FCE-A805-3E2CC0C25E9F}" type="presOf" srcId="{776E72AA-520D-4C2D-8499-99D9B74B126B}" destId="{B7130B30-4016-4BA9-8B28-D2CA4AF740B8}" srcOrd="0" destOrd="0" presId="urn:microsoft.com/office/officeart/2005/8/layout/process1"/>
    <dgm:cxn modelId="{0A4E45FF-4712-45CE-AC88-A048C8B2751E}" srcId="{C877C30E-8723-45C7-92D3-3F64CD1D5E48}" destId="{C8A0EA2D-5DBD-4FF9-BA27-0E98D99F5D3A}" srcOrd="1" destOrd="0" parTransId="{8F94715D-3833-41F6-8C75-C5802AD24E37}" sibTransId="{5391C863-4A76-47F3-B1F4-B0830579771A}"/>
    <dgm:cxn modelId="{C31F92AB-FC08-45AC-A825-0B74772C1B5F}" type="presParOf" srcId="{927B3D1D-FBEF-4256-ABF9-9175FD60F1AE}" destId="{AA03AF60-5464-4E48-899B-D31FA0656C33}" srcOrd="0" destOrd="0" presId="urn:microsoft.com/office/officeart/2005/8/layout/process1"/>
    <dgm:cxn modelId="{1DDA0566-EB70-494B-AF83-A78CF34671CF}" type="presParOf" srcId="{927B3D1D-FBEF-4256-ABF9-9175FD60F1AE}" destId="{49FE3B05-AF4E-4678-881E-9EA50954566C}" srcOrd="1" destOrd="0" presId="urn:microsoft.com/office/officeart/2005/8/layout/process1"/>
    <dgm:cxn modelId="{EF045930-0DAA-4B36-ACF6-31D109C295A4}" type="presParOf" srcId="{49FE3B05-AF4E-4678-881E-9EA50954566C}" destId="{7BF73856-28DE-4AC1-B3E2-968DEB009EB3}" srcOrd="0" destOrd="0" presId="urn:microsoft.com/office/officeart/2005/8/layout/process1"/>
    <dgm:cxn modelId="{7B50944A-BD49-42A8-9DFD-50172214E7CF}" type="presParOf" srcId="{927B3D1D-FBEF-4256-ABF9-9175FD60F1AE}" destId="{649B34E5-4863-4D0F-BCD4-55A5287FDAF5}" srcOrd="2" destOrd="0" presId="urn:microsoft.com/office/officeart/2005/8/layout/process1"/>
    <dgm:cxn modelId="{468C3BF8-ADA2-4C46-83E5-4EFE60CCF7A5}" type="presParOf" srcId="{927B3D1D-FBEF-4256-ABF9-9175FD60F1AE}" destId="{B4443672-828A-4A48-93F9-03A657ECA254}" srcOrd="3" destOrd="0" presId="urn:microsoft.com/office/officeart/2005/8/layout/process1"/>
    <dgm:cxn modelId="{3D2021A4-B1DF-4923-B4F4-16C32EAB6FE1}" type="presParOf" srcId="{B4443672-828A-4A48-93F9-03A657ECA254}" destId="{ED808FDF-9431-4C9F-9682-F07894253894}" srcOrd="0" destOrd="0" presId="urn:microsoft.com/office/officeart/2005/8/layout/process1"/>
    <dgm:cxn modelId="{7016B45A-F4BA-4B8D-BE5A-4D52CFDAFD65}" type="presParOf" srcId="{927B3D1D-FBEF-4256-ABF9-9175FD60F1AE}" destId="{EDDD978F-65F0-456F-9889-3D6DD3E7E92B}" srcOrd="4" destOrd="0" presId="urn:microsoft.com/office/officeart/2005/8/layout/process1"/>
    <dgm:cxn modelId="{67B125BD-0936-45DB-82B4-DF0DD9E73FCF}" type="presParOf" srcId="{927B3D1D-FBEF-4256-ABF9-9175FD60F1AE}" destId="{013569CA-863E-44BD-A32D-1143B0CB0D8E}" srcOrd="5" destOrd="0" presId="urn:microsoft.com/office/officeart/2005/8/layout/process1"/>
    <dgm:cxn modelId="{BC6B31BC-7A18-4E4E-A272-C86EE82F64FD}" type="presParOf" srcId="{013569CA-863E-44BD-A32D-1143B0CB0D8E}" destId="{BD2C0719-08B2-4F64-94C0-20C7B7C410CB}" srcOrd="0" destOrd="0" presId="urn:microsoft.com/office/officeart/2005/8/layout/process1"/>
    <dgm:cxn modelId="{02F70A40-FBFE-400D-A6BE-95AB8F367129}" type="presParOf" srcId="{927B3D1D-FBEF-4256-ABF9-9175FD60F1AE}" destId="{B7130B30-4016-4BA9-8B28-D2CA4AF740B8}" srcOrd="6"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5E18BCC-C3E5-473D-A9CC-A7B19DE15F0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de-DE"/>
        </a:p>
      </dgm:t>
    </dgm:pt>
    <dgm:pt modelId="{1E0A7497-8A11-4E93-89FC-1DFBEC35B8F8}">
      <dgm:prSet phldrT="[Text]"/>
      <dgm:spPr/>
      <dgm:t>
        <a:bodyPr/>
        <a:lstStyle/>
        <a:p>
          <a:r>
            <a:rPr lang="en-US" dirty="0"/>
            <a:t>Selenium</a:t>
          </a:r>
          <a:endParaRPr lang="de-DE" dirty="0"/>
        </a:p>
      </dgm:t>
    </dgm:pt>
    <dgm:pt modelId="{24DB5718-A937-407D-9F24-2065B5E47425}" type="parTrans" cxnId="{09D7EBDD-7CC7-46E4-B6D8-19FDBB06CBDE}">
      <dgm:prSet/>
      <dgm:spPr/>
      <dgm:t>
        <a:bodyPr/>
        <a:lstStyle/>
        <a:p>
          <a:endParaRPr lang="de-DE"/>
        </a:p>
      </dgm:t>
    </dgm:pt>
    <dgm:pt modelId="{6AC12CE2-857C-4D8F-9CAC-D94D3DD054A3}" type="sibTrans" cxnId="{09D7EBDD-7CC7-46E4-B6D8-19FDBB06CBDE}">
      <dgm:prSet/>
      <dgm:spPr/>
      <dgm:t>
        <a:bodyPr/>
        <a:lstStyle/>
        <a:p>
          <a:endParaRPr lang="de-DE"/>
        </a:p>
      </dgm:t>
    </dgm:pt>
    <dgm:pt modelId="{5FBE6204-9772-4CD8-8C8A-7E0AD8A4488F}">
      <dgm:prSet phldrT="[Text]"/>
      <dgm:spPr/>
      <dgm:t>
        <a:bodyPr/>
        <a:lstStyle/>
        <a:p>
          <a:r>
            <a:rPr lang="en-US" dirty="0"/>
            <a:t>Test Core</a:t>
          </a:r>
          <a:endParaRPr lang="de-DE" dirty="0"/>
        </a:p>
      </dgm:t>
    </dgm:pt>
    <dgm:pt modelId="{BE15C6B9-D79B-401A-B404-83CC8FCCF043}" type="parTrans" cxnId="{9FDD106F-2072-4486-B731-FDDBA7B92FE7}">
      <dgm:prSet/>
      <dgm:spPr/>
      <dgm:t>
        <a:bodyPr/>
        <a:lstStyle/>
        <a:p>
          <a:endParaRPr lang="de-DE"/>
        </a:p>
      </dgm:t>
    </dgm:pt>
    <dgm:pt modelId="{E3F1F519-9A0D-4F88-95FB-6771F4D7B6A1}" type="sibTrans" cxnId="{9FDD106F-2072-4486-B731-FDDBA7B92FE7}">
      <dgm:prSet/>
      <dgm:spPr/>
      <dgm:t>
        <a:bodyPr/>
        <a:lstStyle/>
        <a:p>
          <a:endParaRPr lang="de-DE"/>
        </a:p>
      </dgm:t>
    </dgm:pt>
    <dgm:pt modelId="{9539CBF4-CB17-45A2-970D-8CDCD7734C56}">
      <dgm:prSet phldrT="[Text]"/>
      <dgm:spPr/>
      <dgm:t>
        <a:bodyPr/>
        <a:lstStyle/>
        <a:p>
          <a:r>
            <a:rPr lang="en-US" dirty="0"/>
            <a:t>API service</a:t>
          </a:r>
          <a:endParaRPr lang="de-DE" dirty="0"/>
        </a:p>
      </dgm:t>
    </dgm:pt>
    <dgm:pt modelId="{A8FB2965-1A98-40DC-BC4A-EC86BBA23CFB}" type="parTrans" cxnId="{D7C02869-FA9F-4027-8421-EEEA1E7416A3}">
      <dgm:prSet/>
      <dgm:spPr/>
      <dgm:t>
        <a:bodyPr/>
        <a:lstStyle/>
        <a:p>
          <a:endParaRPr lang="de-DE"/>
        </a:p>
      </dgm:t>
    </dgm:pt>
    <dgm:pt modelId="{8E468EFB-68DB-4066-805E-D0C607054C85}" type="sibTrans" cxnId="{D7C02869-FA9F-4027-8421-EEEA1E7416A3}">
      <dgm:prSet/>
      <dgm:spPr/>
      <dgm:t>
        <a:bodyPr/>
        <a:lstStyle/>
        <a:p>
          <a:endParaRPr lang="de-DE"/>
        </a:p>
      </dgm:t>
    </dgm:pt>
    <dgm:pt modelId="{B8B76587-7FB9-4227-BE0C-85FEA5ED3FAE}">
      <dgm:prSet phldrT="[Text]"/>
      <dgm:spPr/>
      <dgm:t>
        <a:bodyPr/>
        <a:lstStyle/>
        <a:p>
          <a:r>
            <a:rPr lang="en-US" dirty="0"/>
            <a:t>Enhancements over WebDriver</a:t>
          </a:r>
          <a:endParaRPr lang="de-DE" dirty="0"/>
        </a:p>
      </dgm:t>
    </dgm:pt>
    <dgm:pt modelId="{27BBE7D7-18EC-4859-9CDF-FD1EBBB7C4BC}" type="parTrans" cxnId="{D9FD4C8A-F481-4EC5-8B6B-8486D15892B7}">
      <dgm:prSet/>
      <dgm:spPr/>
      <dgm:t>
        <a:bodyPr/>
        <a:lstStyle/>
        <a:p>
          <a:endParaRPr lang="de-DE"/>
        </a:p>
      </dgm:t>
    </dgm:pt>
    <dgm:pt modelId="{37144BCF-B65B-405E-A24D-46E9E03DF623}" type="sibTrans" cxnId="{D9FD4C8A-F481-4EC5-8B6B-8486D15892B7}">
      <dgm:prSet/>
      <dgm:spPr/>
      <dgm:t>
        <a:bodyPr/>
        <a:lstStyle/>
        <a:p>
          <a:endParaRPr lang="de-DE"/>
        </a:p>
      </dgm:t>
    </dgm:pt>
    <dgm:pt modelId="{E5C06A03-7272-4BED-B871-BD81032EC6BE}">
      <dgm:prSet phldrT="[Text]"/>
      <dgm:spPr/>
      <dgm:t>
        <a:bodyPr/>
        <a:lstStyle/>
        <a:p>
          <a:r>
            <a:rPr lang="en-US" dirty="0"/>
            <a:t>Continuous Integration</a:t>
          </a:r>
          <a:endParaRPr lang="de-DE" dirty="0"/>
        </a:p>
      </dgm:t>
    </dgm:pt>
    <dgm:pt modelId="{5A5B39A0-AD0D-4752-AB70-474F5A1A7DC3}" type="parTrans" cxnId="{C16D834E-6F5A-44B7-8C8C-4CBECDB5E8FF}">
      <dgm:prSet/>
      <dgm:spPr/>
      <dgm:t>
        <a:bodyPr/>
        <a:lstStyle/>
        <a:p>
          <a:endParaRPr lang="de-DE"/>
        </a:p>
      </dgm:t>
    </dgm:pt>
    <dgm:pt modelId="{40D04C01-9E29-410B-BF0F-C4682405B10B}" type="sibTrans" cxnId="{C16D834E-6F5A-44B7-8C8C-4CBECDB5E8FF}">
      <dgm:prSet/>
      <dgm:spPr/>
      <dgm:t>
        <a:bodyPr/>
        <a:lstStyle/>
        <a:p>
          <a:endParaRPr lang="de-DE"/>
        </a:p>
      </dgm:t>
    </dgm:pt>
    <dgm:pt modelId="{8AC79328-776D-418B-BFA2-3643595EA642}">
      <dgm:prSet phldrT="[Text]"/>
      <dgm:spPr/>
      <dgm:t>
        <a:bodyPr/>
        <a:lstStyle/>
        <a:p>
          <a:r>
            <a:rPr lang="en-US" dirty="0"/>
            <a:t>Test Data separation</a:t>
          </a:r>
          <a:endParaRPr lang="de-DE" dirty="0"/>
        </a:p>
      </dgm:t>
    </dgm:pt>
    <dgm:pt modelId="{985EB91C-07B2-44A4-8E1A-A2F89A02F185}" type="parTrans" cxnId="{E49C376E-9531-451E-A152-69B11F937CA2}">
      <dgm:prSet/>
      <dgm:spPr/>
      <dgm:t>
        <a:bodyPr/>
        <a:lstStyle/>
        <a:p>
          <a:endParaRPr lang="de-DE"/>
        </a:p>
      </dgm:t>
    </dgm:pt>
    <dgm:pt modelId="{6B5649C7-7A03-4D6D-9A14-386668233220}" type="sibTrans" cxnId="{E49C376E-9531-451E-A152-69B11F937CA2}">
      <dgm:prSet/>
      <dgm:spPr/>
      <dgm:t>
        <a:bodyPr/>
        <a:lstStyle/>
        <a:p>
          <a:endParaRPr lang="de-DE"/>
        </a:p>
      </dgm:t>
    </dgm:pt>
    <dgm:pt modelId="{8D94B627-E40E-48CE-A8F4-836464E8037E}">
      <dgm:prSet phldrT="[Text]"/>
      <dgm:spPr/>
      <dgm:t>
        <a:bodyPr/>
        <a:lstStyle/>
        <a:p>
          <a:r>
            <a:rPr lang="en-US" dirty="0"/>
            <a:t>Rest GET action</a:t>
          </a:r>
          <a:endParaRPr lang="de-DE" dirty="0"/>
        </a:p>
      </dgm:t>
    </dgm:pt>
    <dgm:pt modelId="{C001F430-E3C8-467F-A138-0AB244DAC94F}" type="parTrans" cxnId="{866C7A9F-3FF4-41D7-A7F8-A4BC822C4ECE}">
      <dgm:prSet/>
      <dgm:spPr/>
      <dgm:t>
        <a:bodyPr/>
        <a:lstStyle/>
        <a:p>
          <a:endParaRPr lang="de-DE"/>
        </a:p>
      </dgm:t>
    </dgm:pt>
    <dgm:pt modelId="{55DFF9BA-DEEE-466E-AEFD-84DF4FC70B87}" type="sibTrans" cxnId="{866C7A9F-3FF4-41D7-A7F8-A4BC822C4ECE}">
      <dgm:prSet/>
      <dgm:spPr/>
      <dgm:t>
        <a:bodyPr/>
        <a:lstStyle/>
        <a:p>
          <a:endParaRPr lang="de-DE"/>
        </a:p>
      </dgm:t>
    </dgm:pt>
    <dgm:pt modelId="{1AD69B69-9FE5-48DB-97ED-43CC75906A0E}">
      <dgm:prSet phldrT="[Text]"/>
      <dgm:spPr/>
      <dgm:t>
        <a:bodyPr/>
        <a:lstStyle/>
        <a:p>
          <a:r>
            <a:rPr lang="en-US" dirty="0"/>
            <a:t>Service Virtualization</a:t>
          </a:r>
          <a:endParaRPr lang="de-DE" dirty="0"/>
        </a:p>
      </dgm:t>
    </dgm:pt>
    <dgm:pt modelId="{EA8AC8E8-9F9F-40A2-A3F6-99B58AB16EE7}" type="parTrans" cxnId="{86DCB7F5-63BF-486E-97E8-A3C56A3757EC}">
      <dgm:prSet/>
      <dgm:spPr/>
      <dgm:t>
        <a:bodyPr/>
        <a:lstStyle/>
        <a:p>
          <a:endParaRPr lang="de-DE"/>
        </a:p>
      </dgm:t>
    </dgm:pt>
    <dgm:pt modelId="{3EE7BEB2-3765-4537-95AC-F508778F2E21}" type="sibTrans" cxnId="{86DCB7F5-63BF-486E-97E8-A3C56A3757EC}">
      <dgm:prSet/>
      <dgm:spPr/>
      <dgm:t>
        <a:bodyPr/>
        <a:lstStyle/>
        <a:p>
          <a:endParaRPr lang="de-DE"/>
        </a:p>
      </dgm:t>
    </dgm:pt>
    <dgm:pt modelId="{0072D4CC-97CB-48D6-8B04-54B7F13656F1}">
      <dgm:prSet phldrT="[Text]"/>
      <dgm:spPr/>
      <dgm:t>
        <a:bodyPr/>
        <a:lstStyle/>
        <a:p>
          <a:r>
            <a:rPr lang="en-US" dirty="0"/>
            <a:t>Out of the box setup</a:t>
          </a:r>
          <a:endParaRPr lang="de-DE" dirty="0"/>
        </a:p>
      </dgm:t>
    </dgm:pt>
    <dgm:pt modelId="{5A7E2E31-4401-4931-B407-4FA4B57C8D67}" type="parTrans" cxnId="{88505848-2A4C-4B35-AF91-C7B014339610}">
      <dgm:prSet/>
      <dgm:spPr/>
      <dgm:t>
        <a:bodyPr/>
        <a:lstStyle/>
        <a:p>
          <a:endParaRPr lang="de-DE"/>
        </a:p>
      </dgm:t>
    </dgm:pt>
    <dgm:pt modelId="{514C85E1-FC3B-4F2F-8005-6841B3C1AA39}" type="sibTrans" cxnId="{88505848-2A4C-4B35-AF91-C7B014339610}">
      <dgm:prSet/>
      <dgm:spPr/>
      <dgm:t>
        <a:bodyPr/>
        <a:lstStyle/>
        <a:p>
          <a:endParaRPr lang="de-DE"/>
        </a:p>
      </dgm:t>
    </dgm:pt>
    <dgm:pt modelId="{93ED0112-6552-44B3-8D68-4B1699A46C84}" type="pres">
      <dgm:prSet presAssocID="{05E18BCC-C3E5-473D-A9CC-A7B19DE15F0F}" presName="linear" presStyleCnt="0">
        <dgm:presLayoutVars>
          <dgm:dir/>
          <dgm:animLvl val="lvl"/>
          <dgm:resizeHandles val="exact"/>
        </dgm:presLayoutVars>
      </dgm:prSet>
      <dgm:spPr/>
    </dgm:pt>
    <dgm:pt modelId="{44C05E45-CC6D-44D2-BBFD-F666BFDA4CC2}" type="pres">
      <dgm:prSet presAssocID="{1E0A7497-8A11-4E93-89FC-1DFBEC35B8F8}" presName="parentLin" presStyleCnt="0"/>
      <dgm:spPr/>
    </dgm:pt>
    <dgm:pt modelId="{BA875149-0160-4C11-AC7D-A9BD22730703}" type="pres">
      <dgm:prSet presAssocID="{1E0A7497-8A11-4E93-89FC-1DFBEC35B8F8}" presName="parentLeftMargin" presStyleLbl="node1" presStyleIdx="0" presStyleCnt="4"/>
      <dgm:spPr/>
    </dgm:pt>
    <dgm:pt modelId="{541B9A17-3795-48DF-A206-D1E68BF33CA5}" type="pres">
      <dgm:prSet presAssocID="{1E0A7497-8A11-4E93-89FC-1DFBEC35B8F8}" presName="parentText" presStyleLbl="node1" presStyleIdx="0" presStyleCnt="4">
        <dgm:presLayoutVars>
          <dgm:chMax val="0"/>
          <dgm:bulletEnabled val="1"/>
        </dgm:presLayoutVars>
      </dgm:prSet>
      <dgm:spPr/>
    </dgm:pt>
    <dgm:pt modelId="{C793A6F3-5411-46CC-8405-E629091C5E4F}" type="pres">
      <dgm:prSet presAssocID="{1E0A7497-8A11-4E93-89FC-1DFBEC35B8F8}" presName="negativeSpace" presStyleCnt="0"/>
      <dgm:spPr/>
    </dgm:pt>
    <dgm:pt modelId="{C695D5EB-F758-47BB-8069-C61BF3900325}" type="pres">
      <dgm:prSet presAssocID="{1E0A7497-8A11-4E93-89FC-1DFBEC35B8F8}" presName="childText" presStyleLbl="conFgAcc1" presStyleIdx="0" presStyleCnt="4">
        <dgm:presLayoutVars>
          <dgm:bulletEnabled val="1"/>
        </dgm:presLayoutVars>
      </dgm:prSet>
      <dgm:spPr/>
    </dgm:pt>
    <dgm:pt modelId="{C367BEAC-83A7-49E4-990B-21180967CB71}" type="pres">
      <dgm:prSet presAssocID="{6AC12CE2-857C-4D8F-9CAC-D94D3DD054A3}" presName="spaceBetweenRectangles" presStyleCnt="0"/>
      <dgm:spPr/>
    </dgm:pt>
    <dgm:pt modelId="{DCFE85D1-4CB8-444B-A326-C338E49604F1}" type="pres">
      <dgm:prSet presAssocID="{5FBE6204-9772-4CD8-8C8A-7E0AD8A4488F}" presName="parentLin" presStyleCnt="0"/>
      <dgm:spPr/>
    </dgm:pt>
    <dgm:pt modelId="{4FBD1687-F721-4FA6-B716-A567F163CD89}" type="pres">
      <dgm:prSet presAssocID="{5FBE6204-9772-4CD8-8C8A-7E0AD8A4488F}" presName="parentLeftMargin" presStyleLbl="node1" presStyleIdx="0" presStyleCnt="4"/>
      <dgm:spPr/>
    </dgm:pt>
    <dgm:pt modelId="{49712A10-B591-424F-B7CC-47C5812F2035}" type="pres">
      <dgm:prSet presAssocID="{5FBE6204-9772-4CD8-8C8A-7E0AD8A4488F}" presName="parentText" presStyleLbl="node1" presStyleIdx="1" presStyleCnt="4">
        <dgm:presLayoutVars>
          <dgm:chMax val="0"/>
          <dgm:bulletEnabled val="1"/>
        </dgm:presLayoutVars>
      </dgm:prSet>
      <dgm:spPr/>
    </dgm:pt>
    <dgm:pt modelId="{C8AABDA1-467D-4939-BB55-38B7AE4D9B7A}" type="pres">
      <dgm:prSet presAssocID="{5FBE6204-9772-4CD8-8C8A-7E0AD8A4488F}" presName="negativeSpace" presStyleCnt="0"/>
      <dgm:spPr/>
    </dgm:pt>
    <dgm:pt modelId="{E120634C-5162-4A23-9796-6DF6F2E89B5B}" type="pres">
      <dgm:prSet presAssocID="{5FBE6204-9772-4CD8-8C8A-7E0AD8A4488F}" presName="childText" presStyleLbl="conFgAcc1" presStyleIdx="1" presStyleCnt="4">
        <dgm:presLayoutVars>
          <dgm:bulletEnabled val="1"/>
        </dgm:presLayoutVars>
      </dgm:prSet>
      <dgm:spPr/>
    </dgm:pt>
    <dgm:pt modelId="{049B906B-4686-408B-A015-0FA2F631BF15}" type="pres">
      <dgm:prSet presAssocID="{E3F1F519-9A0D-4F88-95FB-6771F4D7B6A1}" presName="spaceBetweenRectangles" presStyleCnt="0"/>
      <dgm:spPr/>
    </dgm:pt>
    <dgm:pt modelId="{F732DE35-C60D-4409-8677-3B8911CBB8F0}" type="pres">
      <dgm:prSet presAssocID="{9539CBF4-CB17-45A2-970D-8CDCD7734C56}" presName="parentLin" presStyleCnt="0"/>
      <dgm:spPr/>
    </dgm:pt>
    <dgm:pt modelId="{F63EA2E2-A00A-4867-B202-14AC2220FC6B}" type="pres">
      <dgm:prSet presAssocID="{9539CBF4-CB17-45A2-970D-8CDCD7734C56}" presName="parentLeftMargin" presStyleLbl="node1" presStyleIdx="1" presStyleCnt="4"/>
      <dgm:spPr/>
    </dgm:pt>
    <dgm:pt modelId="{E8D78545-12AA-436A-AA8A-70EEE4E540BA}" type="pres">
      <dgm:prSet presAssocID="{9539CBF4-CB17-45A2-970D-8CDCD7734C56}" presName="parentText" presStyleLbl="node1" presStyleIdx="2" presStyleCnt="4">
        <dgm:presLayoutVars>
          <dgm:chMax val="0"/>
          <dgm:bulletEnabled val="1"/>
        </dgm:presLayoutVars>
      </dgm:prSet>
      <dgm:spPr/>
    </dgm:pt>
    <dgm:pt modelId="{9AF4BD57-B903-4331-8330-D1E4682D5D81}" type="pres">
      <dgm:prSet presAssocID="{9539CBF4-CB17-45A2-970D-8CDCD7734C56}" presName="negativeSpace" presStyleCnt="0"/>
      <dgm:spPr/>
    </dgm:pt>
    <dgm:pt modelId="{D9216814-7482-48E5-95B3-298BCCE79379}" type="pres">
      <dgm:prSet presAssocID="{9539CBF4-CB17-45A2-970D-8CDCD7734C56}" presName="childText" presStyleLbl="conFgAcc1" presStyleIdx="2" presStyleCnt="4">
        <dgm:presLayoutVars>
          <dgm:bulletEnabled val="1"/>
        </dgm:presLayoutVars>
      </dgm:prSet>
      <dgm:spPr/>
    </dgm:pt>
    <dgm:pt modelId="{06B3C6CD-9F44-4492-A7A7-1AA41DA34A29}" type="pres">
      <dgm:prSet presAssocID="{8E468EFB-68DB-4066-805E-D0C607054C85}" presName="spaceBetweenRectangles" presStyleCnt="0"/>
      <dgm:spPr/>
    </dgm:pt>
    <dgm:pt modelId="{0FEF3D65-3C64-4E54-9FA0-CA474B3845E7}" type="pres">
      <dgm:prSet presAssocID="{E5C06A03-7272-4BED-B871-BD81032EC6BE}" presName="parentLin" presStyleCnt="0"/>
      <dgm:spPr/>
    </dgm:pt>
    <dgm:pt modelId="{AF5DAC6A-DF07-43C2-97BE-B6385CAEC348}" type="pres">
      <dgm:prSet presAssocID="{E5C06A03-7272-4BED-B871-BD81032EC6BE}" presName="parentLeftMargin" presStyleLbl="node1" presStyleIdx="2" presStyleCnt="4"/>
      <dgm:spPr/>
    </dgm:pt>
    <dgm:pt modelId="{5AEC795A-6E59-4BF4-96A3-3EE3F6C1C771}" type="pres">
      <dgm:prSet presAssocID="{E5C06A03-7272-4BED-B871-BD81032EC6BE}" presName="parentText" presStyleLbl="node1" presStyleIdx="3" presStyleCnt="4">
        <dgm:presLayoutVars>
          <dgm:chMax val="0"/>
          <dgm:bulletEnabled val="1"/>
        </dgm:presLayoutVars>
      </dgm:prSet>
      <dgm:spPr/>
    </dgm:pt>
    <dgm:pt modelId="{35241C5A-588C-4945-ACA1-8CB7BC4458D7}" type="pres">
      <dgm:prSet presAssocID="{E5C06A03-7272-4BED-B871-BD81032EC6BE}" presName="negativeSpace" presStyleCnt="0"/>
      <dgm:spPr/>
    </dgm:pt>
    <dgm:pt modelId="{430FA645-8C3E-4879-8F42-C24BB3B1D593}" type="pres">
      <dgm:prSet presAssocID="{E5C06A03-7272-4BED-B871-BD81032EC6BE}" presName="childText" presStyleLbl="conFgAcc1" presStyleIdx="3" presStyleCnt="4">
        <dgm:presLayoutVars>
          <dgm:bulletEnabled val="1"/>
        </dgm:presLayoutVars>
      </dgm:prSet>
      <dgm:spPr/>
    </dgm:pt>
  </dgm:ptLst>
  <dgm:cxnLst>
    <dgm:cxn modelId="{04FEA10B-0D35-4160-ADC3-DC73264BE47F}" type="presOf" srcId="{5FBE6204-9772-4CD8-8C8A-7E0AD8A4488F}" destId="{4FBD1687-F721-4FA6-B716-A567F163CD89}" srcOrd="0" destOrd="0" presId="urn:microsoft.com/office/officeart/2005/8/layout/list1"/>
    <dgm:cxn modelId="{B8148E0D-BDC1-4699-AD98-DD9F37E8F3F3}" type="presOf" srcId="{1E0A7497-8A11-4E93-89FC-1DFBEC35B8F8}" destId="{BA875149-0160-4C11-AC7D-A9BD22730703}" srcOrd="0" destOrd="0" presId="urn:microsoft.com/office/officeart/2005/8/layout/list1"/>
    <dgm:cxn modelId="{A5736018-DF1E-4D3D-B0A6-BB2C9A8B170F}" type="presOf" srcId="{5FBE6204-9772-4CD8-8C8A-7E0AD8A4488F}" destId="{49712A10-B591-424F-B7CC-47C5812F2035}" srcOrd="1" destOrd="0" presId="urn:microsoft.com/office/officeart/2005/8/layout/list1"/>
    <dgm:cxn modelId="{018AF72C-1B69-49BF-8B1B-4F41B4A0DE25}" type="presOf" srcId="{05E18BCC-C3E5-473D-A9CC-A7B19DE15F0F}" destId="{93ED0112-6552-44B3-8D68-4B1699A46C84}" srcOrd="0" destOrd="0" presId="urn:microsoft.com/office/officeart/2005/8/layout/list1"/>
    <dgm:cxn modelId="{D90F7A3B-E645-4B59-A89C-86A3FFECA322}" type="presOf" srcId="{B8B76587-7FB9-4227-BE0C-85FEA5ED3FAE}" destId="{C695D5EB-F758-47BB-8069-C61BF3900325}" srcOrd="0" destOrd="0" presId="urn:microsoft.com/office/officeart/2005/8/layout/list1"/>
    <dgm:cxn modelId="{90F0983B-1762-4C20-9E05-4E5E4D546FE4}" type="presOf" srcId="{9539CBF4-CB17-45A2-970D-8CDCD7734C56}" destId="{E8D78545-12AA-436A-AA8A-70EEE4E540BA}" srcOrd="1" destOrd="0" presId="urn:microsoft.com/office/officeart/2005/8/layout/list1"/>
    <dgm:cxn modelId="{98161343-DB11-4031-B5F1-C42F6733F920}" type="presOf" srcId="{8AC79328-776D-418B-BFA2-3643595EA642}" destId="{E120634C-5162-4A23-9796-6DF6F2E89B5B}" srcOrd="0" destOrd="0" presId="urn:microsoft.com/office/officeart/2005/8/layout/list1"/>
    <dgm:cxn modelId="{0B797665-F4CD-467B-B3E3-493834E82FAD}" type="presOf" srcId="{8D94B627-E40E-48CE-A8F4-836464E8037E}" destId="{D9216814-7482-48E5-95B3-298BCCE79379}" srcOrd="0" destOrd="0" presId="urn:microsoft.com/office/officeart/2005/8/layout/list1"/>
    <dgm:cxn modelId="{88505848-2A4C-4B35-AF91-C7B014339610}" srcId="{E5C06A03-7272-4BED-B871-BD81032EC6BE}" destId="{0072D4CC-97CB-48D6-8B04-54B7F13656F1}" srcOrd="0" destOrd="0" parTransId="{5A7E2E31-4401-4931-B407-4FA4B57C8D67}" sibTransId="{514C85E1-FC3B-4F2F-8005-6841B3C1AA39}"/>
    <dgm:cxn modelId="{D7C02869-FA9F-4027-8421-EEEA1E7416A3}" srcId="{05E18BCC-C3E5-473D-A9CC-A7B19DE15F0F}" destId="{9539CBF4-CB17-45A2-970D-8CDCD7734C56}" srcOrd="2" destOrd="0" parTransId="{A8FB2965-1A98-40DC-BC4A-EC86BBA23CFB}" sibTransId="{8E468EFB-68DB-4066-805E-D0C607054C85}"/>
    <dgm:cxn modelId="{E49C376E-9531-451E-A152-69B11F937CA2}" srcId="{5FBE6204-9772-4CD8-8C8A-7E0AD8A4488F}" destId="{8AC79328-776D-418B-BFA2-3643595EA642}" srcOrd="0" destOrd="0" parTransId="{985EB91C-07B2-44A4-8E1A-A2F89A02F185}" sibTransId="{6B5649C7-7A03-4D6D-9A14-386668233220}"/>
    <dgm:cxn modelId="{C16D834E-6F5A-44B7-8C8C-4CBECDB5E8FF}" srcId="{05E18BCC-C3E5-473D-A9CC-A7B19DE15F0F}" destId="{E5C06A03-7272-4BED-B871-BD81032EC6BE}" srcOrd="3" destOrd="0" parTransId="{5A5B39A0-AD0D-4752-AB70-474F5A1A7DC3}" sibTransId="{40D04C01-9E29-410B-BF0F-C4682405B10B}"/>
    <dgm:cxn modelId="{9FDD106F-2072-4486-B731-FDDBA7B92FE7}" srcId="{05E18BCC-C3E5-473D-A9CC-A7B19DE15F0F}" destId="{5FBE6204-9772-4CD8-8C8A-7E0AD8A4488F}" srcOrd="1" destOrd="0" parTransId="{BE15C6B9-D79B-401A-B404-83CC8FCCF043}" sibTransId="{E3F1F519-9A0D-4F88-95FB-6771F4D7B6A1}"/>
    <dgm:cxn modelId="{E3889775-2F55-4CDE-9F5D-8489E2F64641}" type="presOf" srcId="{1AD69B69-9FE5-48DB-97ED-43CC75906A0E}" destId="{D9216814-7482-48E5-95B3-298BCCE79379}" srcOrd="0" destOrd="1" presId="urn:microsoft.com/office/officeart/2005/8/layout/list1"/>
    <dgm:cxn modelId="{00F41976-0AAB-443F-9F15-7D56D49F0121}" type="presOf" srcId="{9539CBF4-CB17-45A2-970D-8CDCD7734C56}" destId="{F63EA2E2-A00A-4867-B202-14AC2220FC6B}" srcOrd="0" destOrd="0" presId="urn:microsoft.com/office/officeart/2005/8/layout/list1"/>
    <dgm:cxn modelId="{F7601A78-10DB-41B0-AD84-6CDE6F954037}" type="presOf" srcId="{E5C06A03-7272-4BED-B871-BD81032EC6BE}" destId="{AF5DAC6A-DF07-43C2-97BE-B6385CAEC348}" srcOrd="0" destOrd="0" presId="urn:microsoft.com/office/officeart/2005/8/layout/list1"/>
    <dgm:cxn modelId="{D9FD4C8A-F481-4EC5-8B6B-8486D15892B7}" srcId="{1E0A7497-8A11-4E93-89FC-1DFBEC35B8F8}" destId="{B8B76587-7FB9-4227-BE0C-85FEA5ED3FAE}" srcOrd="0" destOrd="0" parTransId="{27BBE7D7-18EC-4859-9CDF-FD1EBBB7C4BC}" sibTransId="{37144BCF-B65B-405E-A24D-46E9E03DF623}"/>
    <dgm:cxn modelId="{866C7A9F-3FF4-41D7-A7F8-A4BC822C4ECE}" srcId="{9539CBF4-CB17-45A2-970D-8CDCD7734C56}" destId="{8D94B627-E40E-48CE-A8F4-836464E8037E}" srcOrd="0" destOrd="0" parTransId="{C001F430-E3C8-467F-A138-0AB244DAC94F}" sibTransId="{55DFF9BA-DEEE-466E-AEFD-84DF4FC70B87}"/>
    <dgm:cxn modelId="{EFA285CD-57B6-4B06-A7EE-81432F74FCC5}" type="presOf" srcId="{E5C06A03-7272-4BED-B871-BD81032EC6BE}" destId="{5AEC795A-6E59-4BF4-96A3-3EE3F6C1C771}" srcOrd="1" destOrd="0" presId="urn:microsoft.com/office/officeart/2005/8/layout/list1"/>
    <dgm:cxn modelId="{09D7EBDD-7CC7-46E4-B6D8-19FDBB06CBDE}" srcId="{05E18BCC-C3E5-473D-A9CC-A7B19DE15F0F}" destId="{1E0A7497-8A11-4E93-89FC-1DFBEC35B8F8}" srcOrd="0" destOrd="0" parTransId="{24DB5718-A937-407D-9F24-2065B5E47425}" sibTransId="{6AC12CE2-857C-4D8F-9CAC-D94D3DD054A3}"/>
    <dgm:cxn modelId="{80BD36E0-A3D9-45C5-AA01-391401C21977}" type="presOf" srcId="{0072D4CC-97CB-48D6-8B04-54B7F13656F1}" destId="{430FA645-8C3E-4879-8F42-C24BB3B1D593}" srcOrd="0" destOrd="0" presId="urn:microsoft.com/office/officeart/2005/8/layout/list1"/>
    <dgm:cxn modelId="{15B68BE2-6753-4E0E-9F91-F5EB695D0C19}" type="presOf" srcId="{1E0A7497-8A11-4E93-89FC-1DFBEC35B8F8}" destId="{541B9A17-3795-48DF-A206-D1E68BF33CA5}" srcOrd="1" destOrd="0" presId="urn:microsoft.com/office/officeart/2005/8/layout/list1"/>
    <dgm:cxn modelId="{86DCB7F5-63BF-486E-97E8-A3C56A3757EC}" srcId="{9539CBF4-CB17-45A2-970D-8CDCD7734C56}" destId="{1AD69B69-9FE5-48DB-97ED-43CC75906A0E}" srcOrd="1" destOrd="0" parTransId="{EA8AC8E8-9F9F-40A2-A3F6-99B58AB16EE7}" sibTransId="{3EE7BEB2-3765-4537-95AC-F508778F2E21}"/>
    <dgm:cxn modelId="{0EC5A378-6B84-4DB9-AF64-C93DD763AA17}" type="presParOf" srcId="{93ED0112-6552-44B3-8D68-4B1699A46C84}" destId="{44C05E45-CC6D-44D2-BBFD-F666BFDA4CC2}" srcOrd="0" destOrd="0" presId="urn:microsoft.com/office/officeart/2005/8/layout/list1"/>
    <dgm:cxn modelId="{182D8EC6-C78A-4B66-96E6-431A13D52F38}" type="presParOf" srcId="{44C05E45-CC6D-44D2-BBFD-F666BFDA4CC2}" destId="{BA875149-0160-4C11-AC7D-A9BD22730703}" srcOrd="0" destOrd="0" presId="urn:microsoft.com/office/officeart/2005/8/layout/list1"/>
    <dgm:cxn modelId="{896C1C91-8587-479E-8229-98F356253569}" type="presParOf" srcId="{44C05E45-CC6D-44D2-BBFD-F666BFDA4CC2}" destId="{541B9A17-3795-48DF-A206-D1E68BF33CA5}" srcOrd="1" destOrd="0" presId="urn:microsoft.com/office/officeart/2005/8/layout/list1"/>
    <dgm:cxn modelId="{F620A93C-B971-4E1A-8B52-2649B6B2F5C9}" type="presParOf" srcId="{93ED0112-6552-44B3-8D68-4B1699A46C84}" destId="{C793A6F3-5411-46CC-8405-E629091C5E4F}" srcOrd="1" destOrd="0" presId="urn:microsoft.com/office/officeart/2005/8/layout/list1"/>
    <dgm:cxn modelId="{0AB474BC-55AD-4A22-9FC0-BB7DCE1E6D27}" type="presParOf" srcId="{93ED0112-6552-44B3-8D68-4B1699A46C84}" destId="{C695D5EB-F758-47BB-8069-C61BF3900325}" srcOrd="2" destOrd="0" presId="urn:microsoft.com/office/officeart/2005/8/layout/list1"/>
    <dgm:cxn modelId="{2C3356A7-A284-4F8E-9FA2-1846BB211D5B}" type="presParOf" srcId="{93ED0112-6552-44B3-8D68-4B1699A46C84}" destId="{C367BEAC-83A7-49E4-990B-21180967CB71}" srcOrd="3" destOrd="0" presId="urn:microsoft.com/office/officeart/2005/8/layout/list1"/>
    <dgm:cxn modelId="{AE24E6E3-A754-4CB8-BE46-CE8B62467FCE}" type="presParOf" srcId="{93ED0112-6552-44B3-8D68-4B1699A46C84}" destId="{DCFE85D1-4CB8-444B-A326-C338E49604F1}" srcOrd="4" destOrd="0" presId="urn:microsoft.com/office/officeart/2005/8/layout/list1"/>
    <dgm:cxn modelId="{333637DC-40CA-4E2A-A412-D194249B9166}" type="presParOf" srcId="{DCFE85D1-4CB8-444B-A326-C338E49604F1}" destId="{4FBD1687-F721-4FA6-B716-A567F163CD89}" srcOrd="0" destOrd="0" presId="urn:microsoft.com/office/officeart/2005/8/layout/list1"/>
    <dgm:cxn modelId="{74D7506D-D9F8-4D7B-B44D-2D91AFFFDCC6}" type="presParOf" srcId="{DCFE85D1-4CB8-444B-A326-C338E49604F1}" destId="{49712A10-B591-424F-B7CC-47C5812F2035}" srcOrd="1" destOrd="0" presId="urn:microsoft.com/office/officeart/2005/8/layout/list1"/>
    <dgm:cxn modelId="{51DDD838-DE84-45A3-8307-588C06CD57D0}" type="presParOf" srcId="{93ED0112-6552-44B3-8D68-4B1699A46C84}" destId="{C8AABDA1-467D-4939-BB55-38B7AE4D9B7A}" srcOrd="5" destOrd="0" presId="urn:microsoft.com/office/officeart/2005/8/layout/list1"/>
    <dgm:cxn modelId="{C62A012F-BEA9-40B2-94C5-0E8E6A3FE8AF}" type="presParOf" srcId="{93ED0112-6552-44B3-8D68-4B1699A46C84}" destId="{E120634C-5162-4A23-9796-6DF6F2E89B5B}" srcOrd="6" destOrd="0" presId="urn:microsoft.com/office/officeart/2005/8/layout/list1"/>
    <dgm:cxn modelId="{B4790E0C-4F8F-46C3-A56B-9AAB7B368F12}" type="presParOf" srcId="{93ED0112-6552-44B3-8D68-4B1699A46C84}" destId="{049B906B-4686-408B-A015-0FA2F631BF15}" srcOrd="7" destOrd="0" presId="urn:microsoft.com/office/officeart/2005/8/layout/list1"/>
    <dgm:cxn modelId="{0A5CE652-9113-415B-9DE8-9E344174E270}" type="presParOf" srcId="{93ED0112-6552-44B3-8D68-4B1699A46C84}" destId="{F732DE35-C60D-4409-8677-3B8911CBB8F0}" srcOrd="8" destOrd="0" presId="urn:microsoft.com/office/officeart/2005/8/layout/list1"/>
    <dgm:cxn modelId="{A0887149-F642-417D-94CA-0EEB63AD0365}" type="presParOf" srcId="{F732DE35-C60D-4409-8677-3B8911CBB8F0}" destId="{F63EA2E2-A00A-4867-B202-14AC2220FC6B}" srcOrd="0" destOrd="0" presId="urn:microsoft.com/office/officeart/2005/8/layout/list1"/>
    <dgm:cxn modelId="{3C241D9F-6519-4BA1-B8A8-0313331FE865}" type="presParOf" srcId="{F732DE35-C60D-4409-8677-3B8911CBB8F0}" destId="{E8D78545-12AA-436A-AA8A-70EEE4E540BA}" srcOrd="1" destOrd="0" presId="urn:microsoft.com/office/officeart/2005/8/layout/list1"/>
    <dgm:cxn modelId="{DF8F3CC3-6744-4421-A87C-2B4A2DD19A94}" type="presParOf" srcId="{93ED0112-6552-44B3-8D68-4B1699A46C84}" destId="{9AF4BD57-B903-4331-8330-D1E4682D5D81}" srcOrd="9" destOrd="0" presId="urn:microsoft.com/office/officeart/2005/8/layout/list1"/>
    <dgm:cxn modelId="{BEA8CC64-E012-4573-8A2D-0C22C7EA80BC}" type="presParOf" srcId="{93ED0112-6552-44B3-8D68-4B1699A46C84}" destId="{D9216814-7482-48E5-95B3-298BCCE79379}" srcOrd="10" destOrd="0" presId="urn:microsoft.com/office/officeart/2005/8/layout/list1"/>
    <dgm:cxn modelId="{D941BCDF-7DC7-4D50-86CD-30491D68368B}" type="presParOf" srcId="{93ED0112-6552-44B3-8D68-4B1699A46C84}" destId="{06B3C6CD-9F44-4492-A7A7-1AA41DA34A29}" srcOrd="11" destOrd="0" presId="urn:microsoft.com/office/officeart/2005/8/layout/list1"/>
    <dgm:cxn modelId="{56122E4C-AA83-4D5A-9DE1-583D2FD64885}" type="presParOf" srcId="{93ED0112-6552-44B3-8D68-4B1699A46C84}" destId="{0FEF3D65-3C64-4E54-9FA0-CA474B3845E7}" srcOrd="12" destOrd="0" presId="urn:microsoft.com/office/officeart/2005/8/layout/list1"/>
    <dgm:cxn modelId="{87C77F49-60E8-4596-9552-ED61B1E79E92}" type="presParOf" srcId="{0FEF3D65-3C64-4E54-9FA0-CA474B3845E7}" destId="{AF5DAC6A-DF07-43C2-97BE-B6385CAEC348}" srcOrd="0" destOrd="0" presId="urn:microsoft.com/office/officeart/2005/8/layout/list1"/>
    <dgm:cxn modelId="{13AEFCBB-40D8-417E-8935-184B60791C3D}" type="presParOf" srcId="{0FEF3D65-3C64-4E54-9FA0-CA474B3845E7}" destId="{5AEC795A-6E59-4BF4-96A3-3EE3F6C1C771}" srcOrd="1" destOrd="0" presId="urn:microsoft.com/office/officeart/2005/8/layout/list1"/>
    <dgm:cxn modelId="{D811BB55-FFD7-42CD-A477-7749168C2CB1}" type="presParOf" srcId="{93ED0112-6552-44B3-8D68-4B1699A46C84}" destId="{35241C5A-588C-4945-ACA1-8CB7BC4458D7}" srcOrd="13" destOrd="0" presId="urn:microsoft.com/office/officeart/2005/8/layout/list1"/>
    <dgm:cxn modelId="{27C2B719-6904-4012-B6EB-1734B5EEC97B}" type="presParOf" srcId="{93ED0112-6552-44B3-8D68-4B1699A46C84}" destId="{430FA645-8C3E-4879-8F42-C24BB3B1D593}" srcOrd="14" destOrd="0" presId="urn:microsoft.com/office/officeart/2005/8/layout/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F0E5C44-F38F-4F59-B87E-A00E01F36002}" type="doc">
      <dgm:prSet loTypeId="urn:microsoft.com/office/officeart/2008/layout/VerticalCurvedList" loCatId="list" qsTypeId="urn:microsoft.com/office/officeart/2005/8/quickstyle/simple1" qsCatId="simple" csTypeId="urn:microsoft.com/office/officeart/2005/8/colors/colorful2" csCatId="colorful" phldr="1"/>
      <dgm:spPr/>
      <dgm:t>
        <a:bodyPr/>
        <a:lstStyle/>
        <a:p>
          <a:endParaRPr lang="en-US"/>
        </a:p>
      </dgm:t>
    </dgm:pt>
    <dgm:pt modelId="{9F55D7CF-8097-4194-8244-B89F07303527}">
      <dgm:prSet/>
      <dgm:spPr/>
      <dgm:t>
        <a:bodyPr/>
        <a:lstStyle/>
        <a:p>
          <a:pPr rtl="0"/>
          <a:r>
            <a:rPr lang="en-US" b="0" noProof="0" dirty="0"/>
            <a:t>Test report with logs and/or screenshots</a:t>
          </a:r>
          <a:endParaRPr lang="en-US" noProof="0" dirty="0"/>
        </a:p>
      </dgm:t>
    </dgm:pt>
    <dgm:pt modelId="{71B80231-6085-4C15-B487-3B1A2767A074}" type="parTrans" cxnId="{B51C1A01-DB8E-4309-84FA-007EBB17BAF6}">
      <dgm:prSet/>
      <dgm:spPr/>
      <dgm:t>
        <a:bodyPr/>
        <a:lstStyle/>
        <a:p>
          <a:endParaRPr lang="en-US"/>
        </a:p>
      </dgm:t>
    </dgm:pt>
    <dgm:pt modelId="{34E8E9D6-BAF0-4F3E-9BE8-2E41F1C3C941}" type="sibTrans" cxnId="{B51C1A01-DB8E-4309-84FA-007EBB17BAF6}">
      <dgm:prSet/>
      <dgm:spPr/>
      <dgm:t>
        <a:bodyPr/>
        <a:lstStyle/>
        <a:p>
          <a:endParaRPr lang="en-US"/>
        </a:p>
      </dgm:t>
    </dgm:pt>
    <dgm:pt modelId="{D094D585-6C76-412E-BD27-4B41F44E5558}">
      <dgm:prSet/>
      <dgm:spPr/>
      <dgm:t>
        <a:bodyPr/>
        <a:lstStyle/>
        <a:p>
          <a:pPr rtl="0"/>
          <a:r>
            <a:rPr lang="en-US" b="0" dirty="0"/>
            <a:t>Test groups/tags</a:t>
          </a:r>
          <a:endParaRPr lang="en-US" dirty="0"/>
        </a:p>
      </dgm:t>
    </dgm:pt>
    <dgm:pt modelId="{0F5D0E4C-93A6-4A1C-A896-3561C49A42F7}" type="parTrans" cxnId="{20F901BA-FF8F-46AE-B95A-73B186DF85F6}">
      <dgm:prSet/>
      <dgm:spPr/>
      <dgm:t>
        <a:bodyPr/>
        <a:lstStyle/>
        <a:p>
          <a:endParaRPr lang="en-US"/>
        </a:p>
      </dgm:t>
    </dgm:pt>
    <dgm:pt modelId="{93BE2FDB-41FD-4983-B761-9B0DE3468366}" type="sibTrans" cxnId="{20F901BA-FF8F-46AE-B95A-73B186DF85F6}">
      <dgm:prSet/>
      <dgm:spPr/>
      <dgm:t>
        <a:bodyPr/>
        <a:lstStyle/>
        <a:p>
          <a:endParaRPr lang="en-US"/>
        </a:p>
      </dgm:t>
    </dgm:pt>
    <dgm:pt modelId="{F351AED9-A162-41CA-83C5-B59C6A144331}">
      <dgm:prSet/>
      <dgm:spPr/>
      <dgm:t>
        <a:bodyPr/>
        <a:lstStyle/>
        <a:p>
          <a:pPr rtl="0"/>
          <a:r>
            <a:rPr lang="en-US" b="0" dirty="0"/>
            <a:t>Data Driven (inside test case, external file) </a:t>
          </a:r>
          <a:endParaRPr lang="en-US" dirty="0"/>
        </a:p>
      </dgm:t>
    </dgm:pt>
    <dgm:pt modelId="{A965AA55-741B-4941-B313-C29A3D9135CE}" type="parTrans" cxnId="{ADAF7C4A-92B8-4BEF-8BD6-F93568551990}">
      <dgm:prSet/>
      <dgm:spPr/>
      <dgm:t>
        <a:bodyPr/>
        <a:lstStyle/>
        <a:p>
          <a:endParaRPr lang="en-US"/>
        </a:p>
      </dgm:t>
    </dgm:pt>
    <dgm:pt modelId="{F0571F5E-EBFA-4CFA-AD6E-C0F7901AD4A2}" type="sibTrans" cxnId="{ADAF7C4A-92B8-4BEF-8BD6-F93568551990}">
      <dgm:prSet/>
      <dgm:spPr/>
      <dgm:t>
        <a:bodyPr/>
        <a:lstStyle/>
        <a:p>
          <a:endParaRPr lang="en-US"/>
        </a:p>
      </dgm:t>
    </dgm:pt>
    <dgm:pt modelId="{3C1296A7-9188-4B78-A328-583A924CCB21}">
      <dgm:prSet/>
      <dgm:spPr/>
      <dgm:t>
        <a:bodyPr/>
        <a:lstStyle/>
        <a:p>
          <a:pPr rtl="0"/>
          <a:r>
            <a:rPr lang="en-US" b="0" dirty="0"/>
            <a:t>Test case parallel execution</a:t>
          </a:r>
          <a:endParaRPr lang="en-US" dirty="0"/>
        </a:p>
      </dgm:t>
    </dgm:pt>
    <dgm:pt modelId="{E9625C25-4F80-42C4-A58C-69E8B91CCA74}" type="parTrans" cxnId="{8EECACAD-03C9-491D-A160-8F972D6D6D76}">
      <dgm:prSet/>
      <dgm:spPr/>
      <dgm:t>
        <a:bodyPr/>
        <a:lstStyle/>
        <a:p>
          <a:endParaRPr lang="en-US"/>
        </a:p>
      </dgm:t>
    </dgm:pt>
    <dgm:pt modelId="{1A77C360-9A15-47CC-BBB6-9ACFEE281871}" type="sibTrans" cxnId="{8EECACAD-03C9-491D-A160-8F972D6D6D76}">
      <dgm:prSet/>
      <dgm:spPr/>
      <dgm:t>
        <a:bodyPr/>
        <a:lstStyle/>
        <a:p>
          <a:endParaRPr lang="en-US"/>
        </a:p>
      </dgm:t>
    </dgm:pt>
    <dgm:pt modelId="{D103C41C-BFA2-4896-B38B-A31A093616C1}">
      <dgm:prSet/>
      <dgm:spPr/>
      <dgm:t>
        <a:bodyPr/>
        <a:lstStyle/>
        <a:p>
          <a:pPr rtl="0"/>
          <a:r>
            <a:rPr lang="en-US" b="0" dirty="0"/>
            <a:t>Run on independent Operating</a:t>
          </a:r>
          <a:r>
            <a:rPr lang="pl-PL" b="0" dirty="0"/>
            <a:t> </a:t>
          </a:r>
          <a:r>
            <a:rPr lang="en-US" b="0" dirty="0"/>
            <a:t>System</a:t>
          </a:r>
          <a:endParaRPr lang="en-US" dirty="0"/>
        </a:p>
      </dgm:t>
    </dgm:pt>
    <dgm:pt modelId="{03AAF690-47E1-4CB5-ACF4-7AA8EC57107C}" type="parTrans" cxnId="{1B5AC086-9AD8-4BE7-B651-AE500723ED57}">
      <dgm:prSet/>
      <dgm:spPr/>
      <dgm:t>
        <a:bodyPr/>
        <a:lstStyle/>
        <a:p>
          <a:endParaRPr lang="en-US"/>
        </a:p>
      </dgm:t>
    </dgm:pt>
    <dgm:pt modelId="{22DF664E-EC3B-4484-8A01-89D7C2078FDE}" type="sibTrans" cxnId="{1B5AC086-9AD8-4BE7-B651-AE500723ED57}">
      <dgm:prSet/>
      <dgm:spPr/>
      <dgm:t>
        <a:bodyPr/>
        <a:lstStyle/>
        <a:p>
          <a:endParaRPr lang="en-US"/>
        </a:p>
      </dgm:t>
    </dgm:pt>
    <dgm:pt modelId="{9217F70A-A76B-4345-93CB-E81800D0B5D7}">
      <dgm:prSet/>
      <dgm:spPr/>
      <dgm:t>
        <a:bodyPr/>
        <a:lstStyle/>
        <a:p>
          <a:pPr rtl="0"/>
          <a:r>
            <a:rPr lang="en-US" b="0" noProof="0" dirty="0"/>
            <a:t>Externalize</a:t>
          </a:r>
          <a:r>
            <a:rPr lang="en-US" b="0" dirty="0"/>
            <a:t> test environment (DEV, QA, PROD)</a:t>
          </a:r>
          <a:endParaRPr lang="en-US" dirty="0"/>
        </a:p>
      </dgm:t>
    </dgm:pt>
    <dgm:pt modelId="{AC2E7A23-E1FA-4691-873E-7F875E9F3800}" type="parTrans" cxnId="{713C4041-30DB-48E5-A927-39BCBF53D49F}">
      <dgm:prSet/>
      <dgm:spPr/>
      <dgm:t>
        <a:bodyPr/>
        <a:lstStyle/>
        <a:p>
          <a:endParaRPr lang="en-US"/>
        </a:p>
      </dgm:t>
    </dgm:pt>
    <dgm:pt modelId="{6793679E-A839-4582-8118-98366CA3572A}" type="sibTrans" cxnId="{713C4041-30DB-48E5-A927-39BCBF53D49F}">
      <dgm:prSet/>
      <dgm:spPr/>
      <dgm:t>
        <a:bodyPr/>
        <a:lstStyle/>
        <a:p>
          <a:endParaRPr lang="en-US"/>
        </a:p>
      </dgm:t>
    </dgm:pt>
    <dgm:pt modelId="{20B3E8DE-E296-4B0B-9297-3AD755DECFA4}" type="pres">
      <dgm:prSet presAssocID="{7F0E5C44-F38F-4F59-B87E-A00E01F36002}" presName="Name0" presStyleCnt="0">
        <dgm:presLayoutVars>
          <dgm:chMax val="7"/>
          <dgm:chPref val="7"/>
          <dgm:dir/>
        </dgm:presLayoutVars>
      </dgm:prSet>
      <dgm:spPr/>
    </dgm:pt>
    <dgm:pt modelId="{24C282F9-CC65-4ECF-B3E9-94A85C0AF7AC}" type="pres">
      <dgm:prSet presAssocID="{7F0E5C44-F38F-4F59-B87E-A00E01F36002}" presName="Name1" presStyleCnt="0"/>
      <dgm:spPr/>
    </dgm:pt>
    <dgm:pt modelId="{E0BB4683-76B2-4A56-B37C-3465F67B753D}" type="pres">
      <dgm:prSet presAssocID="{7F0E5C44-F38F-4F59-B87E-A00E01F36002}" presName="cycle" presStyleCnt="0"/>
      <dgm:spPr/>
    </dgm:pt>
    <dgm:pt modelId="{1604BA2B-9262-4FB9-BC42-0CFDF7DCDF42}" type="pres">
      <dgm:prSet presAssocID="{7F0E5C44-F38F-4F59-B87E-A00E01F36002}" presName="srcNode" presStyleLbl="node1" presStyleIdx="0" presStyleCnt="6"/>
      <dgm:spPr/>
    </dgm:pt>
    <dgm:pt modelId="{A2DEE40E-0B66-4B91-8AC9-45EB49F811C8}" type="pres">
      <dgm:prSet presAssocID="{7F0E5C44-F38F-4F59-B87E-A00E01F36002}" presName="conn" presStyleLbl="parChTrans1D2" presStyleIdx="0" presStyleCnt="1"/>
      <dgm:spPr/>
    </dgm:pt>
    <dgm:pt modelId="{EF74BBB2-5EF5-4416-845A-8434ECD2FC8B}" type="pres">
      <dgm:prSet presAssocID="{7F0E5C44-F38F-4F59-B87E-A00E01F36002}" presName="extraNode" presStyleLbl="node1" presStyleIdx="0" presStyleCnt="6"/>
      <dgm:spPr/>
    </dgm:pt>
    <dgm:pt modelId="{080232DF-F1AE-40A2-9FD4-410B9E4F6996}" type="pres">
      <dgm:prSet presAssocID="{7F0E5C44-F38F-4F59-B87E-A00E01F36002}" presName="dstNode" presStyleLbl="node1" presStyleIdx="0" presStyleCnt="6"/>
      <dgm:spPr/>
    </dgm:pt>
    <dgm:pt modelId="{3A2BAD60-1173-4F05-AA2D-A6CC7480963C}" type="pres">
      <dgm:prSet presAssocID="{9F55D7CF-8097-4194-8244-B89F07303527}" presName="text_1" presStyleLbl="node1" presStyleIdx="0" presStyleCnt="6">
        <dgm:presLayoutVars>
          <dgm:bulletEnabled val="1"/>
        </dgm:presLayoutVars>
      </dgm:prSet>
      <dgm:spPr/>
    </dgm:pt>
    <dgm:pt modelId="{81A215F9-B995-4D96-8151-666DA7537286}" type="pres">
      <dgm:prSet presAssocID="{9F55D7CF-8097-4194-8244-B89F07303527}" presName="accent_1" presStyleCnt="0"/>
      <dgm:spPr/>
    </dgm:pt>
    <dgm:pt modelId="{876AAFB9-EF87-4539-844B-B2D7225647F2}" type="pres">
      <dgm:prSet presAssocID="{9F55D7CF-8097-4194-8244-B89F07303527}" presName="accentRepeatNode" presStyleLbl="solidFgAcc1" presStyleIdx="0" presStyleCnt="6"/>
      <dgm:spPr/>
    </dgm:pt>
    <dgm:pt modelId="{B8E83F1C-CC72-4F68-9ECB-BA7C8F4350EF}" type="pres">
      <dgm:prSet presAssocID="{D094D585-6C76-412E-BD27-4B41F44E5558}" presName="text_2" presStyleLbl="node1" presStyleIdx="1" presStyleCnt="6">
        <dgm:presLayoutVars>
          <dgm:bulletEnabled val="1"/>
        </dgm:presLayoutVars>
      </dgm:prSet>
      <dgm:spPr/>
    </dgm:pt>
    <dgm:pt modelId="{F94BDC5E-E7BA-4C81-BD53-5D4F0588387E}" type="pres">
      <dgm:prSet presAssocID="{D094D585-6C76-412E-BD27-4B41F44E5558}" presName="accent_2" presStyleCnt="0"/>
      <dgm:spPr/>
    </dgm:pt>
    <dgm:pt modelId="{2DD28F3F-8955-489D-889B-C6E41AE5FA1D}" type="pres">
      <dgm:prSet presAssocID="{D094D585-6C76-412E-BD27-4B41F44E5558}" presName="accentRepeatNode" presStyleLbl="solidFgAcc1" presStyleIdx="1" presStyleCnt="6"/>
      <dgm:spPr/>
    </dgm:pt>
    <dgm:pt modelId="{E57A0B6C-4C65-44BC-B21C-AAF6F8AF38E8}" type="pres">
      <dgm:prSet presAssocID="{F351AED9-A162-41CA-83C5-B59C6A144331}" presName="text_3" presStyleLbl="node1" presStyleIdx="2" presStyleCnt="6">
        <dgm:presLayoutVars>
          <dgm:bulletEnabled val="1"/>
        </dgm:presLayoutVars>
      </dgm:prSet>
      <dgm:spPr/>
    </dgm:pt>
    <dgm:pt modelId="{C88FB9C8-7E44-4D37-9D09-F6EB94E71724}" type="pres">
      <dgm:prSet presAssocID="{F351AED9-A162-41CA-83C5-B59C6A144331}" presName="accent_3" presStyleCnt="0"/>
      <dgm:spPr/>
    </dgm:pt>
    <dgm:pt modelId="{5FBA14F6-BA1D-4D16-83B0-270970CAB886}" type="pres">
      <dgm:prSet presAssocID="{F351AED9-A162-41CA-83C5-B59C6A144331}" presName="accentRepeatNode" presStyleLbl="solidFgAcc1" presStyleIdx="2" presStyleCnt="6"/>
      <dgm:spPr/>
    </dgm:pt>
    <dgm:pt modelId="{D711A2C5-F86A-43E0-9FAE-3A67569BA5B0}" type="pres">
      <dgm:prSet presAssocID="{3C1296A7-9188-4B78-A328-583A924CCB21}" presName="text_4" presStyleLbl="node1" presStyleIdx="3" presStyleCnt="6" custLinFactNeighborX="12">
        <dgm:presLayoutVars>
          <dgm:bulletEnabled val="1"/>
        </dgm:presLayoutVars>
      </dgm:prSet>
      <dgm:spPr/>
    </dgm:pt>
    <dgm:pt modelId="{948F1B9A-9940-409B-8D69-E84CB743B564}" type="pres">
      <dgm:prSet presAssocID="{3C1296A7-9188-4B78-A328-583A924CCB21}" presName="accent_4" presStyleCnt="0"/>
      <dgm:spPr/>
    </dgm:pt>
    <dgm:pt modelId="{59FBA889-EC7D-49F7-81C3-DD02DF163D89}" type="pres">
      <dgm:prSet presAssocID="{3C1296A7-9188-4B78-A328-583A924CCB21}" presName="accentRepeatNode" presStyleLbl="solidFgAcc1" presStyleIdx="3" presStyleCnt="6"/>
      <dgm:spPr/>
    </dgm:pt>
    <dgm:pt modelId="{0003C806-5C47-4A25-82B8-8D467F6695F1}" type="pres">
      <dgm:prSet presAssocID="{D103C41C-BFA2-4896-B38B-A31A093616C1}" presName="text_5" presStyleLbl="node1" presStyleIdx="4" presStyleCnt="6">
        <dgm:presLayoutVars>
          <dgm:bulletEnabled val="1"/>
        </dgm:presLayoutVars>
      </dgm:prSet>
      <dgm:spPr/>
    </dgm:pt>
    <dgm:pt modelId="{010118F7-6D18-43C3-A5B4-FA9607FB8AB1}" type="pres">
      <dgm:prSet presAssocID="{D103C41C-BFA2-4896-B38B-A31A093616C1}" presName="accent_5" presStyleCnt="0"/>
      <dgm:spPr/>
    </dgm:pt>
    <dgm:pt modelId="{A648D221-FF1E-41B1-982F-C0EFE4A686E7}" type="pres">
      <dgm:prSet presAssocID="{D103C41C-BFA2-4896-B38B-A31A093616C1}" presName="accentRepeatNode" presStyleLbl="solidFgAcc1" presStyleIdx="4" presStyleCnt="6"/>
      <dgm:spPr/>
    </dgm:pt>
    <dgm:pt modelId="{2606BF64-8FDA-4A3B-85AD-A61D5DBB6D5E}" type="pres">
      <dgm:prSet presAssocID="{9217F70A-A76B-4345-93CB-E81800D0B5D7}" presName="text_6" presStyleLbl="node1" presStyleIdx="5" presStyleCnt="6">
        <dgm:presLayoutVars>
          <dgm:bulletEnabled val="1"/>
        </dgm:presLayoutVars>
      </dgm:prSet>
      <dgm:spPr/>
    </dgm:pt>
    <dgm:pt modelId="{E0AA5CB5-32E4-4135-AF5C-C4FDBD771BCB}" type="pres">
      <dgm:prSet presAssocID="{9217F70A-A76B-4345-93CB-E81800D0B5D7}" presName="accent_6" presStyleCnt="0"/>
      <dgm:spPr/>
    </dgm:pt>
    <dgm:pt modelId="{F7C9F1C0-885E-414E-AA3A-26FA93C53DA2}" type="pres">
      <dgm:prSet presAssocID="{9217F70A-A76B-4345-93CB-E81800D0B5D7}" presName="accentRepeatNode" presStyleLbl="solidFgAcc1" presStyleIdx="5" presStyleCnt="6"/>
      <dgm:spPr/>
    </dgm:pt>
  </dgm:ptLst>
  <dgm:cxnLst>
    <dgm:cxn modelId="{B51C1A01-DB8E-4309-84FA-007EBB17BAF6}" srcId="{7F0E5C44-F38F-4F59-B87E-A00E01F36002}" destId="{9F55D7CF-8097-4194-8244-B89F07303527}" srcOrd="0" destOrd="0" parTransId="{71B80231-6085-4C15-B487-3B1A2767A074}" sibTransId="{34E8E9D6-BAF0-4F3E-9BE8-2E41F1C3C941}"/>
    <dgm:cxn modelId="{76840409-7F41-4C9F-A59A-3BCDDD67E0E8}" type="presOf" srcId="{7F0E5C44-F38F-4F59-B87E-A00E01F36002}" destId="{20B3E8DE-E296-4B0B-9297-3AD755DECFA4}" srcOrd="0" destOrd="0" presId="urn:microsoft.com/office/officeart/2008/layout/VerticalCurvedList"/>
    <dgm:cxn modelId="{40EEBB0C-72D7-4312-B718-8239F177C111}" type="presOf" srcId="{9217F70A-A76B-4345-93CB-E81800D0B5D7}" destId="{2606BF64-8FDA-4A3B-85AD-A61D5DBB6D5E}" srcOrd="0" destOrd="0" presId="urn:microsoft.com/office/officeart/2008/layout/VerticalCurvedList"/>
    <dgm:cxn modelId="{F319DA21-F2FF-4FC0-9318-A9D67BA0AA52}" type="presOf" srcId="{D103C41C-BFA2-4896-B38B-A31A093616C1}" destId="{0003C806-5C47-4A25-82B8-8D467F6695F1}" srcOrd="0" destOrd="0" presId="urn:microsoft.com/office/officeart/2008/layout/VerticalCurvedList"/>
    <dgm:cxn modelId="{1E721123-A586-4C29-89BD-1449CA6683FC}" type="presOf" srcId="{34E8E9D6-BAF0-4F3E-9BE8-2E41F1C3C941}" destId="{A2DEE40E-0B66-4B91-8AC9-45EB49F811C8}" srcOrd="0" destOrd="0" presId="urn:microsoft.com/office/officeart/2008/layout/VerticalCurvedList"/>
    <dgm:cxn modelId="{0827F22F-1496-4276-9E5E-BE55CA937550}" type="presOf" srcId="{9F55D7CF-8097-4194-8244-B89F07303527}" destId="{3A2BAD60-1173-4F05-AA2D-A6CC7480963C}" srcOrd="0" destOrd="0" presId="urn:microsoft.com/office/officeart/2008/layout/VerticalCurvedList"/>
    <dgm:cxn modelId="{713C4041-30DB-48E5-A927-39BCBF53D49F}" srcId="{7F0E5C44-F38F-4F59-B87E-A00E01F36002}" destId="{9217F70A-A76B-4345-93CB-E81800D0B5D7}" srcOrd="5" destOrd="0" parTransId="{AC2E7A23-E1FA-4691-873E-7F875E9F3800}" sibTransId="{6793679E-A839-4582-8118-98366CA3572A}"/>
    <dgm:cxn modelId="{ADAF7C4A-92B8-4BEF-8BD6-F93568551990}" srcId="{7F0E5C44-F38F-4F59-B87E-A00E01F36002}" destId="{F351AED9-A162-41CA-83C5-B59C6A144331}" srcOrd="2" destOrd="0" parTransId="{A965AA55-741B-4941-B313-C29A3D9135CE}" sibTransId="{F0571F5E-EBFA-4CFA-AD6E-C0F7901AD4A2}"/>
    <dgm:cxn modelId="{1B5AC086-9AD8-4BE7-B651-AE500723ED57}" srcId="{7F0E5C44-F38F-4F59-B87E-A00E01F36002}" destId="{D103C41C-BFA2-4896-B38B-A31A093616C1}" srcOrd="4" destOrd="0" parTransId="{03AAF690-47E1-4CB5-ACF4-7AA8EC57107C}" sibTransId="{22DF664E-EC3B-4484-8A01-89D7C2078FDE}"/>
    <dgm:cxn modelId="{8EECACAD-03C9-491D-A160-8F972D6D6D76}" srcId="{7F0E5C44-F38F-4F59-B87E-A00E01F36002}" destId="{3C1296A7-9188-4B78-A328-583A924CCB21}" srcOrd="3" destOrd="0" parTransId="{E9625C25-4F80-42C4-A58C-69E8B91CCA74}" sibTransId="{1A77C360-9A15-47CC-BBB6-9ACFEE281871}"/>
    <dgm:cxn modelId="{69449EAF-E828-47E9-8F21-CD9A2427E059}" type="presOf" srcId="{D094D585-6C76-412E-BD27-4B41F44E5558}" destId="{B8E83F1C-CC72-4F68-9ECB-BA7C8F4350EF}" srcOrd="0" destOrd="0" presId="urn:microsoft.com/office/officeart/2008/layout/VerticalCurvedList"/>
    <dgm:cxn modelId="{20F901BA-FF8F-46AE-B95A-73B186DF85F6}" srcId="{7F0E5C44-F38F-4F59-B87E-A00E01F36002}" destId="{D094D585-6C76-412E-BD27-4B41F44E5558}" srcOrd="1" destOrd="0" parTransId="{0F5D0E4C-93A6-4A1C-A896-3561C49A42F7}" sibTransId="{93BE2FDB-41FD-4983-B761-9B0DE3468366}"/>
    <dgm:cxn modelId="{E97401BE-1E8E-4D83-9E52-A200DED61DDB}" type="presOf" srcId="{3C1296A7-9188-4B78-A328-583A924CCB21}" destId="{D711A2C5-F86A-43E0-9FAE-3A67569BA5B0}" srcOrd="0" destOrd="0" presId="urn:microsoft.com/office/officeart/2008/layout/VerticalCurvedList"/>
    <dgm:cxn modelId="{471BB1F2-6E26-4BEB-930C-53473773A287}" type="presOf" srcId="{F351AED9-A162-41CA-83C5-B59C6A144331}" destId="{E57A0B6C-4C65-44BC-B21C-AAF6F8AF38E8}" srcOrd="0" destOrd="0" presId="urn:microsoft.com/office/officeart/2008/layout/VerticalCurvedList"/>
    <dgm:cxn modelId="{C7D79693-0601-4E01-8E49-16BB64605136}" type="presParOf" srcId="{20B3E8DE-E296-4B0B-9297-3AD755DECFA4}" destId="{24C282F9-CC65-4ECF-B3E9-94A85C0AF7AC}" srcOrd="0" destOrd="0" presId="urn:microsoft.com/office/officeart/2008/layout/VerticalCurvedList"/>
    <dgm:cxn modelId="{A1ABEA62-7D7B-4CCA-87CA-86AC758383B9}" type="presParOf" srcId="{24C282F9-CC65-4ECF-B3E9-94A85C0AF7AC}" destId="{E0BB4683-76B2-4A56-B37C-3465F67B753D}" srcOrd="0" destOrd="0" presId="urn:microsoft.com/office/officeart/2008/layout/VerticalCurvedList"/>
    <dgm:cxn modelId="{BCDF45BF-003A-4E5E-BDA5-401EFDDAE9C9}" type="presParOf" srcId="{E0BB4683-76B2-4A56-B37C-3465F67B753D}" destId="{1604BA2B-9262-4FB9-BC42-0CFDF7DCDF42}" srcOrd="0" destOrd="0" presId="urn:microsoft.com/office/officeart/2008/layout/VerticalCurvedList"/>
    <dgm:cxn modelId="{6DDEC0D2-B2AC-4ACC-A1F2-69B451D3FB01}" type="presParOf" srcId="{E0BB4683-76B2-4A56-B37C-3465F67B753D}" destId="{A2DEE40E-0B66-4B91-8AC9-45EB49F811C8}" srcOrd="1" destOrd="0" presId="urn:microsoft.com/office/officeart/2008/layout/VerticalCurvedList"/>
    <dgm:cxn modelId="{33C87949-BE73-4AF9-AEA7-F3B725C255A9}" type="presParOf" srcId="{E0BB4683-76B2-4A56-B37C-3465F67B753D}" destId="{EF74BBB2-5EF5-4416-845A-8434ECD2FC8B}" srcOrd="2" destOrd="0" presId="urn:microsoft.com/office/officeart/2008/layout/VerticalCurvedList"/>
    <dgm:cxn modelId="{43D11D67-B514-4C1B-9697-5068BEA304ED}" type="presParOf" srcId="{E0BB4683-76B2-4A56-B37C-3465F67B753D}" destId="{080232DF-F1AE-40A2-9FD4-410B9E4F6996}" srcOrd="3" destOrd="0" presId="urn:microsoft.com/office/officeart/2008/layout/VerticalCurvedList"/>
    <dgm:cxn modelId="{3D47B98F-24EE-49F6-AF6A-A1F0A7018E75}" type="presParOf" srcId="{24C282F9-CC65-4ECF-B3E9-94A85C0AF7AC}" destId="{3A2BAD60-1173-4F05-AA2D-A6CC7480963C}" srcOrd="1" destOrd="0" presId="urn:microsoft.com/office/officeart/2008/layout/VerticalCurvedList"/>
    <dgm:cxn modelId="{7468E1A5-A081-4E66-B127-C4A76E0D4EBD}" type="presParOf" srcId="{24C282F9-CC65-4ECF-B3E9-94A85C0AF7AC}" destId="{81A215F9-B995-4D96-8151-666DA7537286}" srcOrd="2" destOrd="0" presId="urn:microsoft.com/office/officeart/2008/layout/VerticalCurvedList"/>
    <dgm:cxn modelId="{125C221D-98F5-4161-B00D-6CCBF85AA735}" type="presParOf" srcId="{81A215F9-B995-4D96-8151-666DA7537286}" destId="{876AAFB9-EF87-4539-844B-B2D7225647F2}" srcOrd="0" destOrd="0" presId="urn:microsoft.com/office/officeart/2008/layout/VerticalCurvedList"/>
    <dgm:cxn modelId="{0A5FFDE4-4084-4BF1-A1C8-87446710E0E7}" type="presParOf" srcId="{24C282F9-CC65-4ECF-B3E9-94A85C0AF7AC}" destId="{B8E83F1C-CC72-4F68-9ECB-BA7C8F4350EF}" srcOrd="3" destOrd="0" presId="urn:microsoft.com/office/officeart/2008/layout/VerticalCurvedList"/>
    <dgm:cxn modelId="{CF0B5E04-464A-44D0-B6F8-FD7D907EED7A}" type="presParOf" srcId="{24C282F9-CC65-4ECF-B3E9-94A85C0AF7AC}" destId="{F94BDC5E-E7BA-4C81-BD53-5D4F0588387E}" srcOrd="4" destOrd="0" presId="urn:microsoft.com/office/officeart/2008/layout/VerticalCurvedList"/>
    <dgm:cxn modelId="{203C5356-8DBB-449B-ADFD-C2BE3D49EBA7}" type="presParOf" srcId="{F94BDC5E-E7BA-4C81-BD53-5D4F0588387E}" destId="{2DD28F3F-8955-489D-889B-C6E41AE5FA1D}" srcOrd="0" destOrd="0" presId="urn:microsoft.com/office/officeart/2008/layout/VerticalCurvedList"/>
    <dgm:cxn modelId="{59729692-5AE3-4736-9552-F19A6A8DA7E5}" type="presParOf" srcId="{24C282F9-CC65-4ECF-B3E9-94A85C0AF7AC}" destId="{E57A0B6C-4C65-44BC-B21C-AAF6F8AF38E8}" srcOrd="5" destOrd="0" presId="urn:microsoft.com/office/officeart/2008/layout/VerticalCurvedList"/>
    <dgm:cxn modelId="{F4203731-6B1F-44B4-B2DB-96E16DB91FC3}" type="presParOf" srcId="{24C282F9-CC65-4ECF-B3E9-94A85C0AF7AC}" destId="{C88FB9C8-7E44-4D37-9D09-F6EB94E71724}" srcOrd="6" destOrd="0" presId="urn:microsoft.com/office/officeart/2008/layout/VerticalCurvedList"/>
    <dgm:cxn modelId="{454305B7-AED6-49BE-AC3C-55050E123CC8}" type="presParOf" srcId="{C88FB9C8-7E44-4D37-9D09-F6EB94E71724}" destId="{5FBA14F6-BA1D-4D16-83B0-270970CAB886}" srcOrd="0" destOrd="0" presId="urn:microsoft.com/office/officeart/2008/layout/VerticalCurvedList"/>
    <dgm:cxn modelId="{1EE5EDDB-988C-41C9-A87A-49BD047DE200}" type="presParOf" srcId="{24C282F9-CC65-4ECF-B3E9-94A85C0AF7AC}" destId="{D711A2C5-F86A-43E0-9FAE-3A67569BA5B0}" srcOrd="7" destOrd="0" presId="urn:microsoft.com/office/officeart/2008/layout/VerticalCurvedList"/>
    <dgm:cxn modelId="{42E41438-CE19-4D1F-AAFC-79112D7397C0}" type="presParOf" srcId="{24C282F9-CC65-4ECF-B3E9-94A85C0AF7AC}" destId="{948F1B9A-9940-409B-8D69-E84CB743B564}" srcOrd="8" destOrd="0" presId="urn:microsoft.com/office/officeart/2008/layout/VerticalCurvedList"/>
    <dgm:cxn modelId="{7D05FF2F-50D5-4733-A616-A8DFF04FAAA5}" type="presParOf" srcId="{948F1B9A-9940-409B-8D69-E84CB743B564}" destId="{59FBA889-EC7D-49F7-81C3-DD02DF163D89}" srcOrd="0" destOrd="0" presId="urn:microsoft.com/office/officeart/2008/layout/VerticalCurvedList"/>
    <dgm:cxn modelId="{8B10549D-61D0-4939-92A6-F0DD06410BB3}" type="presParOf" srcId="{24C282F9-CC65-4ECF-B3E9-94A85C0AF7AC}" destId="{0003C806-5C47-4A25-82B8-8D467F6695F1}" srcOrd="9" destOrd="0" presId="urn:microsoft.com/office/officeart/2008/layout/VerticalCurvedList"/>
    <dgm:cxn modelId="{403FA8E3-316C-4596-B360-F6FFDE4118A5}" type="presParOf" srcId="{24C282F9-CC65-4ECF-B3E9-94A85C0AF7AC}" destId="{010118F7-6D18-43C3-A5B4-FA9607FB8AB1}" srcOrd="10" destOrd="0" presId="urn:microsoft.com/office/officeart/2008/layout/VerticalCurvedList"/>
    <dgm:cxn modelId="{AB660B61-9DE3-48C0-ADDC-F8294A4E648C}" type="presParOf" srcId="{010118F7-6D18-43C3-A5B4-FA9607FB8AB1}" destId="{A648D221-FF1E-41B1-982F-C0EFE4A686E7}" srcOrd="0" destOrd="0" presId="urn:microsoft.com/office/officeart/2008/layout/VerticalCurvedList"/>
    <dgm:cxn modelId="{38E96F5E-EB50-4372-9740-72AA56B8C1E9}" type="presParOf" srcId="{24C282F9-CC65-4ECF-B3E9-94A85C0AF7AC}" destId="{2606BF64-8FDA-4A3B-85AD-A61D5DBB6D5E}" srcOrd="11" destOrd="0" presId="urn:microsoft.com/office/officeart/2008/layout/VerticalCurvedList"/>
    <dgm:cxn modelId="{832362D1-567A-4D0F-B8DF-088C5A052F21}" type="presParOf" srcId="{24C282F9-CC65-4ECF-B3E9-94A85C0AF7AC}" destId="{E0AA5CB5-32E4-4135-AF5C-C4FDBD771BCB}" srcOrd="12" destOrd="0" presId="urn:microsoft.com/office/officeart/2008/layout/VerticalCurvedList"/>
    <dgm:cxn modelId="{5B31F6C7-E151-4274-92C3-A32FC0211544}" type="presParOf" srcId="{E0AA5CB5-32E4-4135-AF5C-C4FDBD771BCB}" destId="{F7C9F1C0-885E-414E-AA3A-26FA93C53DA2}"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9C32B05-62EA-407A-B21C-2310C7945705}" type="doc">
      <dgm:prSet loTypeId="urn:microsoft.com/office/officeart/2005/8/layout/hierarchy4" loCatId="hierarchy" qsTypeId="urn:microsoft.com/office/officeart/2005/8/quickstyle/simple4" qsCatId="simple" csTypeId="urn:microsoft.com/office/officeart/2005/8/colors/colorful1#76" csCatId="colorful" phldr="1"/>
      <dgm:spPr/>
      <dgm:t>
        <a:bodyPr/>
        <a:lstStyle/>
        <a:p>
          <a:endParaRPr lang="en-US"/>
        </a:p>
      </dgm:t>
    </dgm:pt>
    <dgm:pt modelId="{A53EF501-87B2-477F-8DFD-ED38C8960E9C}">
      <dgm:prSet/>
      <dgm:spPr/>
      <dgm:t>
        <a:bodyPr/>
        <a:lstStyle/>
        <a:p>
          <a:pPr rtl="0"/>
          <a:r>
            <a:rPr lang="en-US" b="0" noProof="0" dirty="0"/>
            <a:t>Cost efficient solution</a:t>
          </a:r>
          <a:endParaRPr lang="en-US" noProof="0" dirty="0"/>
        </a:p>
      </dgm:t>
    </dgm:pt>
    <dgm:pt modelId="{EAF68266-29FE-4824-B942-9DC759810C4A}" type="parTrans" cxnId="{70693DBD-4067-4549-9CEC-C8CEA91E634C}">
      <dgm:prSet/>
      <dgm:spPr/>
      <dgm:t>
        <a:bodyPr/>
        <a:lstStyle/>
        <a:p>
          <a:endParaRPr lang="en-US"/>
        </a:p>
      </dgm:t>
    </dgm:pt>
    <dgm:pt modelId="{15C057F1-338E-48A1-884A-61F103539AB1}" type="sibTrans" cxnId="{70693DBD-4067-4549-9CEC-C8CEA91E634C}">
      <dgm:prSet/>
      <dgm:spPr/>
      <dgm:t>
        <a:bodyPr/>
        <a:lstStyle/>
        <a:p>
          <a:endParaRPr lang="en-US"/>
        </a:p>
      </dgm:t>
    </dgm:pt>
    <dgm:pt modelId="{47EFF275-48EC-4FED-B242-0E31BB09BF3B}">
      <dgm:prSet/>
      <dgm:spPr/>
      <dgm:t>
        <a:bodyPr/>
        <a:lstStyle/>
        <a:p>
          <a:pPr rtl="0"/>
          <a:r>
            <a:rPr lang="en-US" noProof="0" dirty="0"/>
            <a:t>Out of the box settings</a:t>
          </a:r>
        </a:p>
      </dgm:t>
    </dgm:pt>
    <dgm:pt modelId="{02AF026A-2BDF-461C-9100-156D9D8530F5}" type="parTrans" cxnId="{AA6860CB-1CF3-43C4-8E4B-E4A60954F150}">
      <dgm:prSet/>
      <dgm:spPr/>
      <dgm:t>
        <a:bodyPr/>
        <a:lstStyle/>
        <a:p>
          <a:endParaRPr lang="en-US"/>
        </a:p>
      </dgm:t>
    </dgm:pt>
    <dgm:pt modelId="{65EA0C69-B3EA-4E48-AC90-C646AEF53CC5}" type="sibTrans" cxnId="{AA6860CB-1CF3-43C4-8E4B-E4A60954F150}">
      <dgm:prSet/>
      <dgm:spPr/>
      <dgm:t>
        <a:bodyPr/>
        <a:lstStyle/>
        <a:p>
          <a:endParaRPr lang="en-US"/>
        </a:p>
      </dgm:t>
    </dgm:pt>
    <dgm:pt modelId="{82437799-EA6B-49C6-8013-9727507F2513}">
      <dgm:prSet/>
      <dgm:spPr/>
      <dgm:t>
        <a:bodyPr/>
        <a:lstStyle/>
        <a:p>
          <a:pPr rtl="0"/>
          <a:r>
            <a:rPr lang="en-US" noProof="0" dirty="0"/>
            <a:t>Example Jenkins jobs</a:t>
          </a:r>
        </a:p>
      </dgm:t>
    </dgm:pt>
    <dgm:pt modelId="{906CA706-C21A-4394-B2BE-F7D2323EC64D}" type="parTrans" cxnId="{0AA62D00-060C-4734-B31E-C36A8384D8E3}">
      <dgm:prSet/>
      <dgm:spPr/>
      <dgm:t>
        <a:bodyPr/>
        <a:lstStyle/>
        <a:p>
          <a:endParaRPr lang="en-US"/>
        </a:p>
      </dgm:t>
    </dgm:pt>
    <dgm:pt modelId="{619083A8-048F-4F27-9D43-F8819B777B70}" type="sibTrans" cxnId="{0AA62D00-060C-4734-B31E-C36A8384D8E3}">
      <dgm:prSet/>
      <dgm:spPr/>
      <dgm:t>
        <a:bodyPr/>
        <a:lstStyle/>
        <a:p>
          <a:endParaRPr lang="en-US"/>
        </a:p>
      </dgm:t>
    </dgm:pt>
    <dgm:pt modelId="{379AEA6F-ADA3-494E-AFDF-6C3E5A55C44C}">
      <dgm:prSet/>
      <dgm:spPr/>
      <dgm:t>
        <a:bodyPr/>
        <a:lstStyle/>
        <a:p>
          <a:pPr rtl="0"/>
          <a:r>
            <a:rPr lang="en-US" noProof="0" dirty="0"/>
            <a:t>Jobs created with „Pipeline as a code” mind set</a:t>
          </a:r>
        </a:p>
      </dgm:t>
    </dgm:pt>
    <dgm:pt modelId="{36C5FC44-B2D2-4436-B563-A97F497CD77E}" type="parTrans" cxnId="{A7820DE0-E604-4E63-B41C-8CA0DE8EF4DA}">
      <dgm:prSet/>
      <dgm:spPr/>
      <dgm:t>
        <a:bodyPr/>
        <a:lstStyle/>
        <a:p>
          <a:endParaRPr lang="en-US"/>
        </a:p>
      </dgm:t>
    </dgm:pt>
    <dgm:pt modelId="{D7AB0556-03E7-4918-8E5F-3D4AE3327CE3}" type="sibTrans" cxnId="{A7820DE0-E604-4E63-B41C-8CA0DE8EF4DA}">
      <dgm:prSet/>
      <dgm:spPr/>
      <dgm:t>
        <a:bodyPr/>
        <a:lstStyle/>
        <a:p>
          <a:endParaRPr lang="en-US"/>
        </a:p>
      </dgm:t>
    </dgm:pt>
    <dgm:pt modelId="{D63516B8-4E07-49C9-8ABA-B72A0534F1CE}">
      <dgm:prSet/>
      <dgm:spPr/>
      <dgm:t>
        <a:bodyPr/>
        <a:lstStyle/>
        <a:p>
          <a:pPr rtl="0"/>
          <a:r>
            <a:rPr lang="en-US" noProof="0" dirty="0"/>
            <a:t>Build dependencies as containers</a:t>
          </a:r>
        </a:p>
      </dgm:t>
    </dgm:pt>
    <dgm:pt modelId="{8DAA020C-5A0D-47D6-BF81-DF34034608F1}" type="parTrans" cxnId="{14FD5F58-8B55-44DD-989E-CBA07B354E3E}">
      <dgm:prSet/>
      <dgm:spPr/>
      <dgm:t>
        <a:bodyPr/>
        <a:lstStyle/>
        <a:p>
          <a:endParaRPr lang="en-US"/>
        </a:p>
      </dgm:t>
    </dgm:pt>
    <dgm:pt modelId="{7FAED47E-417A-4775-8363-C7D344AE2E43}" type="sibTrans" cxnId="{14FD5F58-8B55-44DD-989E-CBA07B354E3E}">
      <dgm:prSet/>
      <dgm:spPr/>
      <dgm:t>
        <a:bodyPr/>
        <a:lstStyle/>
        <a:p>
          <a:endParaRPr lang="en-US"/>
        </a:p>
      </dgm:t>
    </dgm:pt>
    <dgm:pt modelId="{011CF34D-8CDD-4104-841D-2F3C6603C288}">
      <dgm:prSet/>
      <dgm:spPr/>
      <dgm:t>
        <a:bodyPr/>
        <a:lstStyle/>
        <a:p>
          <a:pPr rtl="0"/>
          <a:r>
            <a:rPr lang="en-US" b="0" noProof="0" dirty="0"/>
            <a:t>Jenkins as build and test executor</a:t>
          </a:r>
          <a:endParaRPr lang="en-US" noProof="0" dirty="0"/>
        </a:p>
      </dgm:t>
    </dgm:pt>
    <dgm:pt modelId="{D95E7908-5489-4CAD-8F3F-59EADF058437}" type="parTrans" cxnId="{5BBFBC11-7F87-44B9-BE70-5B2DDB754DAA}">
      <dgm:prSet/>
      <dgm:spPr/>
      <dgm:t>
        <a:bodyPr/>
        <a:lstStyle/>
        <a:p>
          <a:endParaRPr lang="en-US"/>
        </a:p>
      </dgm:t>
    </dgm:pt>
    <dgm:pt modelId="{1B85E8E1-85CB-4527-93E0-BF601577A675}" type="sibTrans" cxnId="{5BBFBC11-7F87-44B9-BE70-5B2DDB754DAA}">
      <dgm:prSet/>
      <dgm:spPr/>
      <dgm:t>
        <a:bodyPr/>
        <a:lstStyle/>
        <a:p>
          <a:endParaRPr lang="en-US"/>
        </a:p>
      </dgm:t>
    </dgm:pt>
    <dgm:pt modelId="{A461D240-20E3-476A-A1B0-BB52DF56F8DA}">
      <dgm:prSet/>
      <dgm:spPr/>
      <dgm:t>
        <a:bodyPr/>
        <a:lstStyle/>
        <a:p>
          <a:pPr rtl="0"/>
          <a:r>
            <a:rPr lang="de-DE" noProof="0" dirty="0"/>
            <a:t>QA Team </a:t>
          </a:r>
          <a:r>
            <a:rPr lang="en-US" noProof="0" dirty="0"/>
            <a:t>responsibility</a:t>
          </a:r>
        </a:p>
      </dgm:t>
    </dgm:pt>
    <dgm:pt modelId="{E7194554-4CAC-48A1-BDC2-07F2719D2A4A}" type="parTrans" cxnId="{E7D0306B-FA62-4643-ABA0-B41B496E5BF6}">
      <dgm:prSet/>
      <dgm:spPr/>
      <dgm:t>
        <a:bodyPr/>
        <a:lstStyle/>
        <a:p>
          <a:endParaRPr lang="en-US"/>
        </a:p>
      </dgm:t>
    </dgm:pt>
    <dgm:pt modelId="{F2E71071-6B9F-476E-A530-CC66C1D54BDC}" type="sibTrans" cxnId="{E7D0306B-FA62-4643-ABA0-B41B496E5BF6}">
      <dgm:prSet/>
      <dgm:spPr/>
      <dgm:t>
        <a:bodyPr/>
        <a:lstStyle/>
        <a:p>
          <a:endParaRPr lang="en-US"/>
        </a:p>
      </dgm:t>
    </dgm:pt>
    <dgm:pt modelId="{764877FB-4D24-40C5-AF81-74F7F1041422}" type="pres">
      <dgm:prSet presAssocID="{B9C32B05-62EA-407A-B21C-2310C7945705}" presName="Name0" presStyleCnt="0">
        <dgm:presLayoutVars>
          <dgm:chPref val="1"/>
          <dgm:dir/>
          <dgm:animOne val="branch"/>
          <dgm:animLvl val="lvl"/>
          <dgm:resizeHandles/>
        </dgm:presLayoutVars>
      </dgm:prSet>
      <dgm:spPr/>
    </dgm:pt>
    <dgm:pt modelId="{61BDEF10-AB01-40B1-9F62-5EDF26475168}" type="pres">
      <dgm:prSet presAssocID="{A461D240-20E3-476A-A1B0-BB52DF56F8DA}" presName="vertOne" presStyleCnt="0"/>
      <dgm:spPr/>
    </dgm:pt>
    <dgm:pt modelId="{8670D048-E6A8-4024-8257-88AD5644F7E5}" type="pres">
      <dgm:prSet presAssocID="{A461D240-20E3-476A-A1B0-BB52DF56F8DA}" presName="txOne" presStyleLbl="node0" presStyleIdx="0" presStyleCnt="2">
        <dgm:presLayoutVars>
          <dgm:chPref val="3"/>
        </dgm:presLayoutVars>
      </dgm:prSet>
      <dgm:spPr/>
    </dgm:pt>
    <dgm:pt modelId="{9A07B99B-94E4-409E-952E-ADC2E5EA8A62}" type="pres">
      <dgm:prSet presAssocID="{A461D240-20E3-476A-A1B0-BB52DF56F8DA}" presName="parTransOne" presStyleCnt="0"/>
      <dgm:spPr/>
    </dgm:pt>
    <dgm:pt modelId="{B56844BA-F390-4F90-AA16-2AB6C8E0F7FD}" type="pres">
      <dgm:prSet presAssocID="{A461D240-20E3-476A-A1B0-BB52DF56F8DA}" presName="horzOne" presStyleCnt="0"/>
      <dgm:spPr/>
    </dgm:pt>
    <dgm:pt modelId="{66E84929-C7BA-4FD0-A189-DC4C9D2DF4C4}" type="pres">
      <dgm:prSet presAssocID="{011CF34D-8CDD-4104-841D-2F3C6603C288}" presName="vertTwo" presStyleCnt="0"/>
      <dgm:spPr/>
    </dgm:pt>
    <dgm:pt modelId="{A3721169-34B6-414F-A091-67C95AADAEB5}" type="pres">
      <dgm:prSet presAssocID="{011CF34D-8CDD-4104-841D-2F3C6603C288}" presName="txTwo" presStyleLbl="node2" presStyleIdx="0" presStyleCnt="5">
        <dgm:presLayoutVars>
          <dgm:chPref val="3"/>
        </dgm:presLayoutVars>
      </dgm:prSet>
      <dgm:spPr/>
    </dgm:pt>
    <dgm:pt modelId="{522FB299-F5B6-4BE7-99D3-58DA29199B6F}" type="pres">
      <dgm:prSet presAssocID="{011CF34D-8CDD-4104-841D-2F3C6603C288}" presName="horzTwo" presStyleCnt="0"/>
      <dgm:spPr/>
    </dgm:pt>
    <dgm:pt modelId="{9773E8A0-0E43-4A89-9E7B-5BB9AD3017EE}" type="pres">
      <dgm:prSet presAssocID="{1B85E8E1-85CB-4527-93E0-BF601577A675}" presName="sibSpaceTwo" presStyleCnt="0"/>
      <dgm:spPr/>
    </dgm:pt>
    <dgm:pt modelId="{4B024390-BC90-40E9-B39B-FA782D5A703A}" type="pres">
      <dgm:prSet presAssocID="{A53EF501-87B2-477F-8DFD-ED38C8960E9C}" presName="vertTwo" presStyleCnt="0"/>
      <dgm:spPr/>
    </dgm:pt>
    <dgm:pt modelId="{1000C26E-3D71-48FA-A3ED-83BF4ED6EAB3}" type="pres">
      <dgm:prSet presAssocID="{A53EF501-87B2-477F-8DFD-ED38C8960E9C}" presName="txTwo" presStyleLbl="node2" presStyleIdx="1" presStyleCnt="5">
        <dgm:presLayoutVars>
          <dgm:chPref val="3"/>
        </dgm:presLayoutVars>
      </dgm:prSet>
      <dgm:spPr/>
    </dgm:pt>
    <dgm:pt modelId="{A01BDAE8-C7EA-4689-ACEF-66970DEDE124}" type="pres">
      <dgm:prSet presAssocID="{A53EF501-87B2-477F-8DFD-ED38C8960E9C}" presName="horzTwo" presStyleCnt="0"/>
      <dgm:spPr/>
    </dgm:pt>
    <dgm:pt modelId="{50872012-176E-4DA3-A010-672C74120404}" type="pres">
      <dgm:prSet presAssocID="{F2E71071-6B9F-476E-A530-CC66C1D54BDC}" presName="sibSpaceOne" presStyleCnt="0"/>
      <dgm:spPr/>
    </dgm:pt>
    <dgm:pt modelId="{D8D463A9-1974-4407-9ABA-DF7195763947}" type="pres">
      <dgm:prSet presAssocID="{47EFF275-48EC-4FED-B242-0E31BB09BF3B}" presName="vertOne" presStyleCnt="0"/>
      <dgm:spPr/>
    </dgm:pt>
    <dgm:pt modelId="{D4A515B5-6E31-4F81-ACBF-6E78901E9E69}" type="pres">
      <dgm:prSet presAssocID="{47EFF275-48EC-4FED-B242-0E31BB09BF3B}" presName="txOne" presStyleLbl="node0" presStyleIdx="1" presStyleCnt="2">
        <dgm:presLayoutVars>
          <dgm:chPref val="3"/>
        </dgm:presLayoutVars>
      </dgm:prSet>
      <dgm:spPr/>
    </dgm:pt>
    <dgm:pt modelId="{126623E0-E24A-414F-8E7D-021945C6B51C}" type="pres">
      <dgm:prSet presAssocID="{47EFF275-48EC-4FED-B242-0E31BB09BF3B}" presName="parTransOne" presStyleCnt="0"/>
      <dgm:spPr/>
    </dgm:pt>
    <dgm:pt modelId="{50FD1F10-0498-40D0-BDCF-7AF7363FCB6A}" type="pres">
      <dgm:prSet presAssocID="{47EFF275-48EC-4FED-B242-0E31BB09BF3B}" presName="horzOne" presStyleCnt="0"/>
      <dgm:spPr/>
    </dgm:pt>
    <dgm:pt modelId="{D42882F0-0A9F-4507-914F-9937A0F36070}" type="pres">
      <dgm:prSet presAssocID="{82437799-EA6B-49C6-8013-9727507F2513}" presName="vertTwo" presStyleCnt="0"/>
      <dgm:spPr/>
    </dgm:pt>
    <dgm:pt modelId="{A89CB4BD-9715-405E-A715-C6F6B7E65A8F}" type="pres">
      <dgm:prSet presAssocID="{82437799-EA6B-49C6-8013-9727507F2513}" presName="txTwo" presStyleLbl="node2" presStyleIdx="2" presStyleCnt="5">
        <dgm:presLayoutVars>
          <dgm:chPref val="3"/>
        </dgm:presLayoutVars>
      </dgm:prSet>
      <dgm:spPr/>
    </dgm:pt>
    <dgm:pt modelId="{3E9A7CE0-42F3-488F-9AF2-C4098DBBC0F9}" type="pres">
      <dgm:prSet presAssocID="{82437799-EA6B-49C6-8013-9727507F2513}" presName="horzTwo" presStyleCnt="0"/>
      <dgm:spPr/>
    </dgm:pt>
    <dgm:pt modelId="{C6186CA8-0410-48D6-898E-71ED1FA60FB9}" type="pres">
      <dgm:prSet presAssocID="{619083A8-048F-4F27-9D43-F8819B777B70}" presName="sibSpaceTwo" presStyleCnt="0"/>
      <dgm:spPr/>
    </dgm:pt>
    <dgm:pt modelId="{E785DEA9-D6DA-4085-979C-057828402A61}" type="pres">
      <dgm:prSet presAssocID="{379AEA6F-ADA3-494E-AFDF-6C3E5A55C44C}" presName="vertTwo" presStyleCnt="0"/>
      <dgm:spPr/>
    </dgm:pt>
    <dgm:pt modelId="{26D7C547-8DBD-4CF9-B34F-AC145FC99221}" type="pres">
      <dgm:prSet presAssocID="{379AEA6F-ADA3-494E-AFDF-6C3E5A55C44C}" presName="txTwo" presStyleLbl="node2" presStyleIdx="3" presStyleCnt="5">
        <dgm:presLayoutVars>
          <dgm:chPref val="3"/>
        </dgm:presLayoutVars>
      </dgm:prSet>
      <dgm:spPr/>
    </dgm:pt>
    <dgm:pt modelId="{94CDDDFE-4460-41B4-97B3-B317179D2FD7}" type="pres">
      <dgm:prSet presAssocID="{379AEA6F-ADA3-494E-AFDF-6C3E5A55C44C}" presName="horzTwo" presStyleCnt="0"/>
      <dgm:spPr/>
    </dgm:pt>
    <dgm:pt modelId="{8DB0EB58-4E10-45AD-9BC3-5A05B78053F5}" type="pres">
      <dgm:prSet presAssocID="{D7AB0556-03E7-4918-8E5F-3D4AE3327CE3}" presName="sibSpaceTwo" presStyleCnt="0"/>
      <dgm:spPr/>
    </dgm:pt>
    <dgm:pt modelId="{256933C6-530A-44FA-8BFB-BD18707DD534}" type="pres">
      <dgm:prSet presAssocID="{D63516B8-4E07-49C9-8ABA-B72A0534F1CE}" presName="vertTwo" presStyleCnt="0"/>
      <dgm:spPr/>
    </dgm:pt>
    <dgm:pt modelId="{F4DD5167-92EC-4D44-B738-644AF19B405C}" type="pres">
      <dgm:prSet presAssocID="{D63516B8-4E07-49C9-8ABA-B72A0534F1CE}" presName="txTwo" presStyleLbl="node2" presStyleIdx="4" presStyleCnt="5">
        <dgm:presLayoutVars>
          <dgm:chPref val="3"/>
        </dgm:presLayoutVars>
      </dgm:prSet>
      <dgm:spPr/>
    </dgm:pt>
    <dgm:pt modelId="{9069A1C0-9BCC-4599-B2F5-42116606B999}" type="pres">
      <dgm:prSet presAssocID="{D63516B8-4E07-49C9-8ABA-B72A0534F1CE}" presName="horzTwo" presStyleCnt="0"/>
      <dgm:spPr/>
    </dgm:pt>
  </dgm:ptLst>
  <dgm:cxnLst>
    <dgm:cxn modelId="{0AA62D00-060C-4734-B31E-C36A8384D8E3}" srcId="{47EFF275-48EC-4FED-B242-0E31BB09BF3B}" destId="{82437799-EA6B-49C6-8013-9727507F2513}" srcOrd="0" destOrd="0" parTransId="{906CA706-C21A-4394-B2BE-F7D2323EC64D}" sibTransId="{619083A8-048F-4F27-9D43-F8819B777B70}"/>
    <dgm:cxn modelId="{5BBFBC11-7F87-44B9-BE70-5B2DDB754DAA}" srcId="{A461D240-20E3-476A-A1B0-BB52DF56F8DA}" destId="{011CF34D-8CDD-4104-841D-2F3C6603C288}" srcOrd="0" destOrd="0" parTransId="{D95E7908-5489-4CAD-8F3F-59EADF058437}" sibTransId="{1B85E8E1-85CB-4527-93E0-BF601577A675}"/>
    <dgm:cxn modelId="{DA020B22-C6C1-4D26-ABCE-57A1BFFDD9C1}" type="presOf" srcId="{A53EF501-87B2-477F-8DFD-ED38C8960E9C}" destId="{1000C26E-3D71-48FA-A3ED-83BF4ED6EAB3}" srcOrd="0" destOrd="0" presId="urn:microsoft.com/office/officeart/2005/8/layout/hierarchy4"/>
    <dgm:cxn modelId="{704C923F-A8D2-485B-9534-4B590A1EA92E}" type="presOf" srcId="{82437799-EA6B-49C6-8013-9727507F2513}" destId="{A89CB4BD-9715-405E-A715-C6F6B7E65A8F}" srcOrd="0" destOrd="0" presId="urn:microsoft.com/office/officeart/2005/8/layout/hierarchy4"/>
    <dgm:cxn modelId="{DAB56866-DF74-4800-9A27-D1C11A62BA96}" type="presOf" srcId="{379AEA6F-ADA3-494E-AFDF-6C3E5A55C44C}" destId="{26D7C547-8DBD-4CF9-B34F-AC145FC99221}" srcOrd="0" destOrd="0" presId="urn:microsoft.com/office/officeart/2005/8/layout/hierarchy4"/>
    <dgm:cxn modelId="{D07C8848-9817-46B8-9BC9-0065932FACE8}" type="presOf" srcId="{011CF34D-8CDD-4104-841D-2F3C6603C288}" destId="{A3721169-34B6-414F-A091-67C95AADAEB5}" srcOrd="0" destOrd="0" presId="urn:microsoft.com/office/officeart/2005/8/layout/hierarchy4"/>
    <dgm:cxn modelId="{E7D0306B-FA62-4643-ABA0-B41B496E5BF6}" srcId="{B9C32B05-62EA-407A-B21C-2310C7945705}" destId="{A461D240-20E3-476A-A1B0-BB52DF56F8DA}" srcOrd="0" destOrd="0" parTransId="{E7194554-4CAC-48A1-BDC2-07F2719D2A4A}" sibTransId="{F2E71071-6B9F-476E-A530-CC66C1D54BDC}"/>
    <dgm:cxn modelId="{14FD5F58-8B55-44DD-989E-CBA07B354E3E}" srcId="{47EFF275-48EC-4FED-B242-0E31BB09BF3B}" destId="{D63516B8-4E07-49C9-8ABA-B72A0534F1CE}" srcOrd="2" destOrd="0" parTransId="{8DAA020C-5A0D-47D6-BF81-DF34034608F1}" sibTransId="{7FAED47E-417A-4775-8363-C7D344AE2E43}"/>
    <dgm:cxn modelId="{FCCF3684-2800-40D3-8D74-9E101F4B97D2}" type="presOf" srcId="{A461D240-20E3-476A-A1B0-BB52DF56F8DA}" destId="{8670D048-E6A8-4024-8257-88AD5644F7E5}" srcOrd="0" destOrd="0" presId="urn:microsoft.com/office/officeart/2005/8/layout/hierarchy4"/>
    <dgm:cxn modelId="{C1C23CAB-81BF-469A-9153-B48B8C189216}" type="presOf" srcId="{B9C32B05-62EA-407A-B21C-2310C7945705}" destId="{764877FB-4D24-40C5-AF81-74F7F1041422}" srcOrd="0" destOrd="0" presId="urn:microsoft.com/office/officeart/2005/8/layout/hierarchy4"/>
    <dgm:cxn modelId="{A51959AC-C5D4-4B1D-8152-FA23069A31FB}" type="presOf" srcId="{47EFF275-48EC-4FED-B242-0E31BB09BF3B}" destId="{D4A515B5-6E31-4F81-ACBF-6E78901E9E69}" srcOrd="0" destOrd="0" presId="urn:microsoft.com/office/officeart/2005/8/layout/hierarchy4"/>
    <dgm:cxn modelId="{70693DBD-4067-4549-9CEC-C8CEA91E634C}" srcId="{A461D240-20E3-476A-A1B0-BB52DF56F8DA}" destId="{A53EF501-87B2-477F-8DFD-ED38C8960E9C}" srcOrd="1" destOrd="0" parTransId="{EAF68266-29FE-4824-B942-9DC759810C4A}" sibTransId="{15C057F1-338E-48A1-884A-61F103539AB1}"/>
    <dgm:cxn modelId="{8B5E85CA-39E6-49E9-A5DC-D3B9A0F2E3B2}" type="presOf" srcId="{D63516B8-4E07-49C9-8ABA-B72A0534F1CE}" destId="{F4DD5167-92EC-4D44-B738-644AF19B405C}" srcOrd="0" destOrd="0" presId="urn:microsoft.com/office/officeart/2005/8/layout/hierarchy4"/>
    <dgm:cxn modelId="{AA6860CB-1CF3-43C4-8E4B-E4A60954F150}" srcId="{B9C32B05-62EA-407A-B21C-2310C7945705}" destId="{47EFF275-48EC-4FED-B242-0E31BB09BF3B}" srcOrd="1" destOrd="0" parTransId="{02AF026A-2BDF-461C-9100-156D9D8530F5}" sibTransId="{65EA0C69-B3EA-4E48-AC90-C646AEF53CC5}"/>
    <dgm:cxn modelId="{A7820DE0-E604-4E63-B41C-8CA0DE8EF4DA}" srcId="{47EFF275-48EC-4FED-B242-0E31BB09BF3B}" destId="{379AEA6F-ADA3-494E-AFDF-6C3E5A55C44C}" srcOrd="1" destOrd="0" parTransId="{36C5FC44-B2D2-4436-B563-A97F497CD77E}" sibTransId="{D7AB0556-03E7-4918-8E5F-3D4AE3327CE3}"/>
    <dgm:cxn modelId="{B76BC027-C953-4F47-A0E4-FFCBA3E9D3DC}" type="presParOf" srcId="{764877FB-4D24-40C5-AF81-74F7F1041422}" destId="{61BDEF10-AB01-40B1-9F62-5EDF26475168}" srcOrd="0" destOrd="0" presId="urn:microsoft.com/office/officeart/2005/8/layout/hierarchy4"/>
    <dgm:cxn modelId="{87B8C2D4-2819-4BFD-B242-CE8385727050}" type="presParOf" srcId="{61BDEF10-AB01-40B1-9F62-5EDF26475168}" destId="{8670D048-E6A8-4024-8257-88AD5644F7E5}" srcOrd="0" destOrd="0" presId="urn:microsoft.com/office/officeart/2005/8/layout/hierarchy4"/>
    <dgm:cxn modelId="{6E520725-986A-4375-A473-DF871D6CF15D}" type="presParOf" srcId="{61BDEF10-AB01-40B1-9F62-5EDF26475168}" destId="{9A07B99B-94E4-409E-952E-ADC2E5EA8A62}" srcOrd="1" destOrd="0" presId="urn:microsoft.com/office/officeart/2005/8/layout/hierarchy4"/>
    <dgm:cxn modelId="{31766E03-FD2A-4467-AA6C-813136B8AA02}" type="presParOf" srcId="{61BDEF10-AB01-40B1-9F62-5EDF26475168}" destId="{B56844BA-F390-4F90-AA16-2AB6C8E0F7FD}" srcOrd="2" destOrd="0" presId="urn:microsoft.com/office/officeart/2005/8/layout/hierarchy4"/>
    <dgm:cxn modelId="{CE37EB86-8922-44EF-B74C-84E24B4E9EDF}" type="presParOf" srcId="{B56844BA-F390-4F90-AA16-2AB6C8E0F7FD}" destId="{66E84929-C7BA-4FD0-A189-DC4C9D2DF4C4}" srcOrd="0" destOrd="0" presId="urn:microsoft.com/office/officeart/2005/8/layout/hierarchy4"/>
    <dgm:cxn modelId="{F5C8311E-14DB-4328-BBC7-1E5F485F5568}" type="presParOf" srcId="{66E84929-C7BA-4FD0-A189-DC4C9D2DF4C4}" destId="{A3721169-34B6-414F-A091-67C95AADAEB5}" srcOrd="0" destOrd="0" presId="urn:microsoft.com/office/officeart/2005/8/layout/hierarchy4"/>
    <dgm:cxn modelId="{D1EB95FF-67E3-43A1-98FA-A41295AB577A}" type="presParOf" srcId="{66E84929-C7BA-4FD0-A189-DC4C9D2DF4C4}" destId="{522FB299-F5B6-4BE7-99D3-58DA29199B6F}" srcOrd="1" destOrd="0" presId="urn:microsoft.com/office/officeart/2005/8/layout/hierarchy4"/>
    <dgm:cxn modelId="{8925487B-FB88-4BF0-8600-72D55B195E3B}" type="presParOf" srcId="{B56844BA-F390-4F90-AA16-2AB6C8E0F7FD}" destId="{9773E8A0-0E43-4A89-9E7B-5BB9AD3017EE}" srcOrd="1" destOrd="0" presId="urn:microsoft.com/office/officeart/2005/8/layout/hierarchy4"/>
    <dgm:cxn modelId="{E830728D-4CD7-483E-8A94-BB6AF7810119}" type="presParOf" srcId="{B56844BA-F390-4F90-AA16-2AB6C8E0F7FD}" destId="{4B024390-BC90-40E9-B39B-FA782D5A703A}" srcOrd="2" destOrd="0" presId="urn:microsoft.com/office/officeart/2005/8/layout/hierarchy4"/>
    <dgm:cxn modelId="{6E21E2F9-6EB6-4F0A-B50D-32AFE423BAD8}" type="presParOf" srcId="{4B024390-BC90-40E9-B39B-FA782D5A703A}" destId="{1000C26E-3D71-48FA-A3ED-83BF4ED6EAB3}" srcOrd="0" destOrd="0" presId="urn:microsoft.com/office/officeart/2005/8/layout/hierarchy4"/>
    <dgm:cxn modelId="{5B290070-2101-435D-B3B3-9D6883050170}" type="presParOf" srcId="{4B024390-BC90-40E9-B39B-FA782D5A703A}" destId="{A01BDAE8-C7EA-4689-ACEF-66970DEDE124}" srcOrd="1" destOrd="0" presId="urn:microsoft.com/office/officeart/2005/8/layout/hierarchy4"/>
    <dgm:cxn modelId="{A3B131BF-FD1E-4BEF-9266-75D8218E223A}" type="presParOf" srcId="{764877FB-4D24-40C5-AF81-74F7F1041422}" destId="{50872012-176E-4DA3-A010-672C74120404}" srcOrd="1" destOrd="0" presId="urn:microsoft.com/office/officeart/2005/8/layout/hierarchy4"/>
    <dgm:cxn modelId="{E14659BA-8907-42DD-A198-402AAE3A4FEA}" type="presParOf" srcId="{764877FB-4D24-40C5-AF81-74F7F1041422}" destId="{D8D463A9-1974-4407-9ABA-DF7195763947}" srcOrd="2" destOrd="0" presId="urn:microsoft.com/office/officeart/2005/8/layout/hierarchy4"/>
    <dgm:cxn modelId="{34CA0C49-4672-46FE-98BA-23A10C8E9CED}" type="presParOf" srcId="{D8D463A9-1974-4407-9ABA-DF7195763947}" destId="{D4A515B5-6E31-4F81-ACBF-6E78901E9E69}" srcOrd="0" destOrd="0" presId="urn:microsoft.com/office/officeart/2005/8/layout/hierarchy4"/>
    <dgm:cxn modelId="{3A43502F-F8A6-4C53-A2D3-9F784808D7EA}" type="presParOf" srcId="{D8D463A9-1974-4407-9ABA-DF7195763947}" destId="{126623E0-E24A-414F-8E7D-021945C6B51C}" srcOrd="1" destOrd="0" presId="urn:microsoft.com/office/officeart/2005/8/layout/hierarchy4"/>
    <dgm:cxn modelId="{830575B1-91B7-4378-9217-18F5B575CBF3}" type="presParOf" srcId="{D8D463A9-1974-4407-9ABA-DF7195763947}" destId="{50FD1F10-0498-40D0-BDCF-7AF7363FCB6A}" srcOrd="2" destOrd="0" presId="urn:microsoft.com/office/officeart/2005/8/layout/hierarchy4"/>
    <dgm:cxn modelId="{B57C2148-61D3-48C0-84D7-F01685222948}" type="presParOf" srcId="{50FD1F10-0498-40D0-BDCF-7AF7363FCB6A}" destId="{D42882F0-0A9F-4507-914F-9937A0F36070}" srcOrd="0" destOrd="0" presId="urn:microsoft.com/office/officeart/2005/8/layout/hierarchy4"/>
    <dgm:cxn modelId="{FD823667-96C8-48F5-8F95-2F003550C16A}" type="presParOf" srcId="{D42882F0-0A9F-4507-914F-9937A0F36070}" destId="{A89CB4BD-9715-405E-A715-C6F6B7E65A8F}" srcOrd="0" destOrd="0" presId="urn:microsoft.com/office/officeart/2005/8/layout/hierarchy4"/>
    <dgm:cxn modelId="{A2C9C199-99E8-4A9E-A805-5E2280846BB6}" type="presParOf" srcId="{D42882F0-0A9F-4507-914F-9937A0F36070}" destId="{3E9A7CE0-42F3-488F-9AF2-C4098DBBC0F9}" srcOrd="1" destOrd="0" presId="urn:microsoft.com/office/officeart/2005/8/layout/hierarchy4"/>
    <dgm:cxn modelId="{3244F829-3CC7-4273-A478-B47E21274F5F}" type="presParOf" srcId="{50FD1F10-0498-40D0-BDCF-7AF7363FCB6A}" destId="{C6186CA8-0410-48D6-898E-71ED1FA60FB9}" srcOrd="1" destOrd="0" presId="urn:microsoft.com/office/officeart/2005/8/layout/hierarchy4"/>
    <dgm:cxn modelId="{18E4892F-88E6-4FAA-807E-F44D994A7E68}" type="presParOf" srcId="{50FD1F10-0498-40D0-BDCF-7AF7363FCB6A}" destId="{E785DEA9-D6DA-4085-979C-057828402A61}" srcOrd="2" destOrd="0" presId="urn:microsoft.com/office/officeart/2005/8/layout/hierarchy4"/>
    <dgm:cxn modelId="{0CFC8787-4A52-4491-98DD-4B0824866040}" type="presParOf" srcId="{E785DEA9-D6DA-4085-979C-057828402A61}" destId="{26D7C547-8DBD-4CF9-B34F-AC145FC99221}" srcOrd="0" destOrd="0" presId="urn:microsoft.com/office/officeart/2005/8/layout/hierarchy4"/>
    <dgm:cxn modelId="{D1ECDE3B-1CAB-4503-B3E4-16F27DFA7430}" type="presParOf" srcId="{E785DEA9-D6DA-4085-979C-057828402A61}" destId="{94CDDDFE-4460-41B4-97B3-B317179D2FD7}" srcOrd="1" destOrd="0" presId="urn:microsoft.com/office/officeart/2005/8/layout/hierarchy4"/>
    <dgm:cxn modelId="{A0150862-F7C8-4430-B605-6CBED936D367}" type="presParOf" srcId="{50FD1F10-0498-40D0-BDCF-7AF7363FCB6A}" destId="{8DB0EB58-4E10-45AD-9BC3-5A05B78053F5}" srcOrd="3" destOrd="0" presId="urn:microsoft.com/office/officeart/2005/8/layout/hierarchy4"/>
    <dgm:cxn modelId="{3AF4C95E-F46E-4606-A16E-9510A701E335}" type="presParOf" srcId="{50FD1F10-0498-40D0-BDCF-7AF7363FCB6A}" destId="{256933C6-530A-44FA-8BFB-BD18707DD534}" srcOrd="4" destOrd="0" presId="urn:microsoft.com/office/officeart/2005/8/layout/hierarchy4"/>
    <dgm:cxn modelId="{4C6A3E6A-0575-4DAF-8FCC-C8CFF3DF66A2}" type="presParOf" srcId="{256933C6-530A-44FA-8BFB-BD18707DD534}" destId="{F4DD5167-92EC-4D44-B738-644AF19B405C}" srcOrd="0" destOrd="0" presId="urn:microsoft.com/office/officeart/2005/8/layout/hierarchy4"/>
    <dgm:cxn modelId="{64BDA455-A069-451C-85ED-FBC40F8895DC}" type="presParOf" srcId="{256933C6-530A-44FA-8BFB-BD18707DD534}" destId="{9069A1C0-9BCC-4599-B2F5-42116606B999}" srcOrd="1" destOrd="0" presId="urn:microsoft.com/office/officeart/2005/8/layout/hierarchy4"/>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B9C32B05-62EA-407A-B21C-2310C7945705}" type="doc">
      <dgm:prSet loTypeId="urn:microsoft.com/office/officeart/2008/layout/AlternatingHexagons" loCatId="list" qsTypeId="urn:microsoft.com/office/officeart/2005/8/quickstyle/simple5" qsCatId="simple" csTypeId="urn:microsoft.com/office/officeart/2005/8/colors/colorful2" csCatId="colorful" phldr="1"/>
      <dgm:spPr/>
      <dgm:t>
        <a:bodyPr/>
        <a:lstStyle/>
        <a:p>
          <a:endParaRPr lang="en-US"/>
        </a:p>
      </dgm:t>
    </dgm:pt>
    <dgm:pt modelId="{42D71409-67F9-455C-8C6D-716D284AAA6B}">
      <dgm:prSet phldrT="[Text]"/>
      <dgm:spPr>
        <a:solidFill>
          <a:schemeClr val="accent1"/>
        </a:solidFill>
      </dgm:spPr>
      <dgm:t>
        <a:bodyPr/>
        <a:lstStyle/>
        <a:p>
          <a:r>
            <a:rPr lang="en-US" b="1" noProof="0" dirty="0"/>
            <a:t> switch ON quality</a:t>
          </a:r>
        </a:p>
      </dgm:t>
    </dgm:pt>
    <dgm:pt modelId="{51680ED1-AF6E-4B28-AE94-92B0EFB0DF7D}" type="parTrans" cxnId="{2AA9C11F-1F1D-428E-801A-47EAA766C99D}">
      <dgm:prSet/>
      <dgm:spPr/>
      <dgm:t>
        <a:bodyPr/>
        <a:lstStyle/>
        <a:p>
          <a:endParaRPr lang="en-US"/>
        </a:p>
      </dgm:t>
    </dgm:pt>
    <dgm:pt modelId="{478B7D3C-9FB4-4BC6-90AC-49960560DECD}" type="sibTrans" cxnId="{2AA9C11F-1F1D-428E-801A-47EAA766C99D}">
      <dgm:prSet custT="1"/>
      <dgm:spPr>
        <a:solidFill>
          <a:srgbClr val="002060"/>
        </a:solidFill>
      </dgm:spPr>
      <dgm:t>
        <a:bodyPr/>
        <a:lstStyle/>
        <a:p>
          <a:r>
            <a:rPr lang="en-US" sz="2400" noProof="0" dirty="0"/>
            <a:t>faster</a:t>
          </a:r>
          <a:endParaRPr lang="en-US" sz="2800" noProof="0" dirty="0"/>
        </a:p>
      </dgm:t>
    </dgm:pt>
    <dgm:pt modelId="{F66099B6-DBBD-4AB0-82D2-877B80F846F7}">
      <dgm:prSet phldrT="[Text]"/>
      <dgm:spPr>
        <a:solidFill>
          <a:schemeClr val="accent1"/>
        </a:solidFill>
      </dgm:spPr>
      <dgm:t>
        <a:bodyPr/>
        <a:lstStyle/>
        <a:p>
          <a:r>
            <a:rPr lang="en-US" b="1" noProof="0" dirty="0"/>
            <a:t>One solution to fit all</a:t>
          </a:r>
        </a:p>
      </dgm:t>
    </dgm:pt>
    <dgm:pt modelId="{B09C8BFB-F41C-4AC4-AB94-F216E3081C2D}" type="parTrans" cxnId="{B4F3EA32-CE64-4A92-9BAE-BC57E5392B05}">
      <dgm:prSet/>
      <dgm:spPr/>
      <dgm:t>
        <a:bodyPr/>
        <a:lstStyle/>
        <a:p>
          <a:endParaRPr lang="en-US"/>
        </a:p>
      </dgm:t>
    </dgm:pt>
    <dgm:pt modelId="{BC531B32-9B0E-482E-BF91-65C61F17168D}" type="sibTrans" cxnId="{B4F3EA32-CE64-4A92-9BAE-BC57E5392B05}">
      <dgm:prSet custT="1"/>
      <dgm:spPr>
        <a:solidFill>
          <a:srgbClr val="002060"/>
        </a:solidFill>
      </dgm:spPr>
      <dgm:t>
        <a:bodyPr/>
        <a:lstStyle/>
        <a:p>
          <a:r>
            <a:rPr lang="en-US" sz="2400" noProof="0" dirty="0"/>
            <a:t>better</a:t>
          </a:r>
        </a:p>
      </dgm:t>
    </dgm:pt>
    <dgm:pt modelId="{EE62A4F6-4AC4-435B-990E-81A71CE8CAC7}">
      <dgm:prSet phldrT="[Text]"/>
      <dgm:spPr>
        <a:solidFill>
          <a:schemeClr val="accent1"/>
        </a:solidFill>
      </dgm:spPr>
      <dgm:t>
        <a:bodyPr/>
        <a:lstStyle/>
        <a:p>
          <a:r>
            <a:rPr lang="en-US" b="1" noProof="0" dirty="0"/>
            <a:t>break team silos </a:t>
          </a:r>
        </a:p>
      </dgm:t>
    </dgm:pt>
    <dgm:pt modelId="{F287B947-7343-4FA2-B288-B23A59FFAE31}" type="parTrans" cxnId="{3A2CECA6-0C5B-46BB-B7C6-7D37E9D210BD}">
      <dgm:prSet/>
      <dgm:spPr/>
      <dgm:t>
        <a:bodyPr/>
        <a:lstStyle/>
        <a:p>
          <a:endParaRPr lang="en-US"/>
        </a:p>
      </dgm:t>
    </dgm:pt>
    <dgm:pt modelId="{389F9A93-0231-4877-8C41-5D5B8DD7AAC0}" type="sibTrans" cxnId="{3A2CECA6-0C5B-46BB-B7C6-7D37E9D210BD}">
      <dgm:prSet/>
      <dgm:spPr>
        <a:solidFill>
          <a:srgbClr val="002060"/>
        </a:solidFill>
      </dgm:spPr>
      <dgm:t>
        <a:bodyPr/>
        <a:lstStyle/>
        <a:p>
          <a:r>
            <a:rPr lang="en-US" noProof="0" dirty="0"/>
            <a:t>already here</a:t>
          </a:r>
        </a:p>
      </dgm:t>
    </dgm:pt>
    <dgm:pt modelId="{8BE07AC0-1B92-45C8-9622-1773B6DCDB11}" type="pres">
      <dgm:prSet presAssocID="{B9C32B05-62EA-407A-B21C-2310C7945705}" presName="Name0" presStyleCnt="0">
        <dgm:presLayoutVars>
          <dgm:chMax/>
          <dgm:chPref/>
          <dgm:dir/>
          <dgm:animLvl val="lvl"/>
        </dgm:presLayoutVars>
      </dgm:prSet>
      <dgm:spPr/>
    </dgm:pt>
    <dgm:pt modelId="{B924C370-3F22-4AE6-91C9-F6B63F8EA950}" type="pres">
      <dgm:prSet presAssocID="{42D71409-67F9-455C-8C6D-716D284AAA6B}" presName="composite" presStyleCnt="0"/>
      <dgm:spPr/>
    </dgm:pt>
    <dgm:pt modelId="{1F2EF0EB-B252-4BC3-A06F-72AA30BF178E}" type="pres">
      <dgm:prSet presAssocID="{42D71409-67F9-455C-8C6D-716D284AAA6B}" presName="Parent1" presStyleLbl="node1" presStyleIdx="0" presStyleCnt="6">
        <dgm:presLayoutVars>
          <dgm:chMax val="1"/>
          <dgm:chPref val="1"/>
          <dgm:bulletEnabled val="1"/>
        </dgm:presLayoutVars>
      </dgm:prSet>
      <dgm:spPr/>
    </dgm:pt>
    <dgm:pt modelId="{2C84F8A6-9F54-4DED-BEC7-410A64D8472B}" type="pres">
      <dgm:prSet presAssocID="{42D71409-67F9-455C-8C6D-716D284AAA6B}" presName="Childtext1" presStyleLbl="revTx" presStyleIdx="0" presStyleCnt="3">
        <dgm:presLayoutVars>
          <dgm:chMax val="0"/>
          <dgm:chPref val="0"/>
          <dgm:bulletEnabled val="1"/>
        </dgm:presLayoutVars>
      </dgm:prSet>
      <dgm:spPr/>
    </dgm:pt>
    <dgm:pt modelId="{85D68C15-04EB-4B48-A472-90B73746A67B}" type="pres">
      <dgm:prSet presAssocID="{42D71409-67F9-455C-8C6D-716D284AAA6B}" presName="BalanceSpacing" presStyleCnt="0"/>
      <dgm:spPr/>
    </dgm:pt>
    <dgm:pt modelId="{E252F3E6-4F2B-458B-B28B-F06E6E04744E}" type="pres">
      <dgm:prSet presAssocID="{42D71409-67F9-455C-8C6D-716D284AAA6B}" presName="BalanceSpacing1" presStyleCnt="0"/>
      <dgm:spPr/>
    </dgm:pt>
    <dgm:pt modelId="{AF9D1B28-55D2-4661-9B48-D46DD7C6F172}" type="pres">
      <dgm:prSet presAssocID="{478B7D3C-9FB4-4BC6-90AC-49960560DECD}" presName="Accent1Text" presStyleLbl="node1" presStyleIdx="1" presStyleCnt="6"/>
      <dgm:spPr/>
    </dgm:pt>
    <dgm:pt modelId="{C7C4B145-67F5-4B82-B73F-A039D364D3D0}" type="pres">
      <dgm:prSet presAssocID="{478B7D3C-9FB4-4BC6-90AC-49960560DECD}" presName="spaceBetweenRectangles" presStyleCnt="0"/>
      <dgm:spPr/>
    </dgm:pt>
    <dgm:pt modelId="{8A8D0D2A-B22B-4B00-8688-0B1A8A8C846F}" type="pres">
      <dgm:prSet presAssocID="{F66099B6-DBBD-4AB0-82D2-877B80F846F7}" presName="composite" presStyleCnt="0"/>
      <dgm:spPr/>
    </dgm:pt>
    <dgm:pt modelId="{0E654833-B3D7-4466-92A7-52D61721734B}" type="pres">
      <dgm:prSet presAssocID="{F66099B6-DBBD-4AB0-82D2-877B80F846F7}" presName="Parent1" presStyleLbl="node1" presStyleIdx="2" presStyleCnt="6">
        <dgm:presLayoutVars>
          <dgm:chMax val="1"/>
          <dgm:chPref val="1"/>
          <dgm:bulletEnabled val="1"/>
        </dgm:presLayoutVars>
      </dgm:prSet>
      <dgm:spPr/>
    </dgm:pt>
    <dgm:pt modelId="{A63FCDCD-9300-424B-B5F3-2490EC955C86}" type="pres">
      <dgm:prSet presAssocID="{F66099B6-DBBD-4AB0-82D2-877B80F846F7}" presName="Childtext1" presStyleLbl="revTx" presStyleIdx="1" presStyleCnt="3">
        <dgm:presLayoutVars>
          <dgm:chMax val="0"/>
          <dgm:chPref val="0"/>
          <dgm:bulletEnabled val="1"/>
        </dgm:presLayoutVars>
      </dgm:prSet>
      <dgm:spPr/>
    </dgm:pt>
    <dgm:pt modelId="{43240BA0-AF47-4589-A789-357B26C50FF8}" type="pres">
      <dgm:prSet presAssocID="{F66099B6-DBBD-4AB0-82D2-877B80F846F7}" presName="BalanceSpacing" presStyleCnt="0"/>
      <dgm:spPr/>
    </dgm:pt>
    <dgm:pt modelId="{AC2F0254-3147-4360-97F3-BE099343FD41}" type="pres">
      <dgm:prSet presAssocID="{F66099B6-DBBD-4AB0-82D2-877B80F846F7}" presName="BalanceSpacing1" presStyleCnt="0"/>
      <dgm:spPr/>
    </dgm:pt>
    <dgm:pt modelId="{9A83753A-2CBC-46D5-A237-7CD32146492C}" type="pres">
      <dgm:prSet presAssocID="{BC531B32-9B0E-482E-BF91-65C61F17168D}" presName="Accent1Text" presStyleLbl="node1" presStyleIdx="3" presStyleCnt="6"/>
      <dgm:spPr/>
    </dgm:pt>
    <dgm:pt modelId="{787A8707-6804-482C-AFBE-C348B9168B4A}" type="pres">
      <dgm:prSet presAssocID="{BC531B32-9B0E-482E-BF91-65C61F17168D}" presName="spaceBetweenRectangles" presStyleCnt="0"/>
      <dgm:spPr/>
    </dgm:pt>
    <dgm:pt modelId="{7A6A520D-7931-486E-B148-A6B0B83367A9}" type="pres">
      <dgm:prSet presAssocID="{EE62A4F6-4AC4-435B-990E-81A71CE8CAC7}" presName="composite" presStyleCnt="0"/>
      <dgm:spPr/>
    </dgm:pt>
    <dgm:pt modelId="{D2E1E186-8C78-4977-9223-FD67ACF0AAFF}" type="pres">
      <dgm:prSet presAssocID="{EE62A4F6-4AC4-435B-990E-81A71CE8CAC7}" presName="Parent1" presStyleLbl="node1" presStyleIdx="4" presStyleCnt="6">
        <dgm:presLayoutVars>
          <dgm:chMax val="1"/>
          <dgm:chPref val="1"/>
          <dgm:bulletEnabled val="1"/>
        </dgm:presLayoutVars>
      </dgm:prSet>
      <dgm:spPr/>
    </dgm:pt>
    <dgm:pt modelId="{89B2CB3C-27CC-44EB-BAAE-8724FF87BCA9}" type="pres">
      <dgm:prSet presAssocID="{EE62A4F6-4AC4-435B-990E-81A71CE8CAC7}" presName="Childtext1" presStyleLbl="revTx" presStyleIdx="2" presStyleCnt="3">
        <dgm:presLayoutVars>
          <dgm:chMax val="0"/>
          <dgm:chPref val="0"/>
          <dgm:bulletEnabled val="1"/>
        </dgm:presLayoutVars>
      </dgm:prSet>
      <dgm:spPr/>
    </dgm:pt>
    <dgm:pt modelId="{7D3E8CAB-0C66-44B4-BED1-BBC4315DC3AE}" type="pres">
      <dgm:prSet presAssocID="{EE62A4F6-4AC4-435B-990E-81A71CE8CAC7}" presName="BalanceSpacing" presStyleCnt="0"/>
      <dgm:spPr/>
    </dgm:pt>
    <dgm:pt modelId="{DD0EC311-C053-408A-B696-5728E695C95B}" type="pres">
      <dgm:prSet presAssocID="{EE62A4F6-4AC4-435B-990E-81A71CE8CAC7}" presName="BalanceSpacing1" presStyleCnt="0"/>
      <dgm:spPr/>
    </dgm:pt>
    <dgm:pt modelId="{9FF7C39B-A2FA-439F-90BC-D1F836A75373}" type="pres">
      <dgm:prSet presAssocID="{389F9A93-0231-4877-8C41-5D5B8DD7AAC0}" presName="Accent1Text" presStyleLbl="node1" presStyleIdx="5" presStyleCnt="6"/>
      <dgm:spPr/>
    </dgm:pt>
  </dgm:ptLst>
  <dgm:cxnLst>
    <dgm:cxn modelId="{D1065508-AC6F-48DC-BF91-337D1624A18A}" type="presOf" srcId="{B9C32B05-62EA-407A-B21C-2310C7945705}" destId="{8BE07AC0-1B92-45C8-9622-1773B6DCDB11}" srcOrd="0" destOrd="0" presId="urn:microsoft.com/office/officeart/2008/layout/AlternatingHexagons"/>
    <dgm:cxn modelId="{2AA9C11F-1F1D-428E-801A-47EAA766C99D}" srcId="{B9C32B05-62EA-407A-B21C-2310C7945705}" destId="{42D71409-67F9-455C-8C6D-716D284AAA6B}" srcOrd="0" destOrd="0" parTransId="{51680ED1-AF6E-4B28-AE94-92B0EFB0DF7D}" sibTransId="{478B7D3C-9FB4-4BC6-90AC-49960560DECD}"/>
    <dgm:cxn modelId="{B4F3EA32-CE64-4A92-9BAE-BC57E5392B05}" srcId="{B9C32B05-62EA-407A-B21C-2310C7945705}" destId="{F66099B6-DBBD-4AB0-82D2-877B80F846F7}" srcOrd="1" destOrd="0" parTransId="{B09C8BFB-F41C-4AC4-AB94-F216E3081C2D}" sibTransId="{BC531B32-9B0E-482E-BF91-65C61F17168D}"/>
    <dgm:cxn modelId="{B40E0240-A845-44CB-AFB4-B4E79392FD0F}" type="presOf" srcId="{478B7D3C-9FB4-4BC6-90AC-49960560DECD}" destId="{AF9D1B28-55D2-4661-9B48-D46DD7C6F172}" srcOrd="0" destOrd="0" presId="urn:microsoft.com/office/officeart/2008/layout/AlternatingHexagons"/>
    <dgm:cxn modelId="{0E8A0D41-9A70-41F0-A70F-51A10A51013A}" type="presOf" srcId="{389F9A93-0231-4877-8C41-5D5B8DD7AAC0}" destId="{9FF7C39B-A2FA-439F-90BC-D1F836A75373}" srcOrd="0" destOrd="0" presId="urn:microsoft.com/office/officeart/2008/layout/AlternatingHexagons"/>
    <dgm:cxn modelId="{A3EA0764-10DE-4C15-B4FE-C6B873F646C2}" type="presOf" srcId="{EE62A4F6-4AC4-435B-990E-81A71CE8CAC7}" destId="{D2E1E186-8C78-4977-9223-FD67ACF0AAFF}" srcOrd="0" destOrd="0" presId="urn:microsoft.com/office/officeart/2008/layout/AlternatingHexagons"/>
    <dgm:cxn modelId="{3DF51949-5C6E-41C5-93F8-3AD48C915F96}" type="presOf" srcId="{F66099B6-DBBD-4AB0-82D2-877B80F846F7}" destId="{0E654833-B3D7-4466-92A7-52D61721734B}" srcOrd="0" destOrd="0" presId="urn:microsoft.com/office/officeart/2008/layout/AlternatingHexagons"/>
    <dgm:cxn modelId="{3A2CECA6-0C5B-46BB-B7C6-7D37E9D210BD}" srcId="{B9C32B05-62EA-407A-B21C-2310C7945705}" destId="{EE62A4F6-4AC4-435B-990E-81A71CE8CAC7}" srcOrd="2" destOrd="0" parTransId="{F287B947-7343-4FA2-B288-B23A59FFAE31}" sibTransId="{389F9A93-0231-4877-8C41-5D5B8DD7AAC0}"/>
    <dgm:cxn modelId="{98D93BD1-F52B-482E-AB4B-C8BDCCE3E72B}" type="presOf" srcId="{BC531B32-9B0E-482E-BF91-65C61F17168D}" destId="{9A83753A-2CBC-46D5-A237-7CD32146492C}" srcOrd="0" destOrd="0" presId="urn:microsoft.com/office/officeart/2008/layout/AlternatingHexagons"/>
    <dgm:cxn modelId="{13E7F7F8-A54D-4BE3-AB51-7939B1733AC3}" type="presOf" srcId="{42D71409-67F9-455C-8C6D-716D284AAA6B}" destId="{1F2EF0EB-B252-4BC3-A06F-72AA30BF178E}" srcOrd="0" destOrd="0" presId="urn:microsoft.com/office/officeart/2008/layout/AlternatingHexagons"/>
    <dgm:cxn modelId="{FD6FB60C-9506-4626-9352-E3176FD774E5}" type="presParOf" srcId="{8BE07AC0-1B92-45C8-9622-1773B6DCDB11}" destId="{B924C370-3F22-4AE6-91C9-F6B63F8EA950}" srcOrd="0" destOrd="0" presId="urn:microsoft.com/office/officeart/2008/layout/AlternatingHexagons"/>
    <dgm:cxn modelId="{30E609FD-EC19-47A5-90C6-435118CD0608}" type="presParOf" srcId="{B924C370-3F22-4AE6-91C9-F6B63F8EA950}" destId="{1F2EF0EB-B252-4BC3-A06F-72AA30BF178E}" srcOrd="0" destOrd="0" presId="urn:microsoft.com/office/officeart/2008/layout/AlternatingHexagons"/>
    <dgm:cxn modelId="{C68F15E2-761C-4CE6-902B-0A97C34F1931}" type="presParOf" srcId="{B924C370-3F22-4AE6-91C9-F6B63F8EA950}" destId="{2C84F8A6-9F54-4DED-BEC7-410A64D8472B}" srcOrd="1" destOrd="0" presId="urn:microsoft.com/office/officeart/2008/layout/AlternatingHexagons"/>
    <dgm:cxn modelId="{CBC2211A-710E-4142-A43A-FEF6AB17F2BF}" type="presParOf" srcId="{B924C370-3F22-4AE6-91C9-F6B63F8EA950}" destId="{85D68C15-04EB-4B48-A472-90B73746A67B}" srcOrd="2" destOrd="0" presId="urn:microsoft.com/office/officeart/2008/layout/AlternatingHexagons"/>
    <dgm:cxn modelId="{899C1B10-A5BF-4025-B909-76D88BCE1617}" type="presParOf" srcId="{B924C370-3F22-4AE6-91C9-F6B63F8EA950}" destId="{E252F3E6-4F2B-458B-B28B-F06E6E04744E}" srcOrd="3" destOrd="0" presId="urn:microsoft.com/office/officeart/2008/layout/AlternatingHexagons"/>
    <dgm:cxn modelId="{1E608D9E-B4F0-40E9-9628-5A590C2D3AA7}" type="presParOf" srcId="{B924C370-3F22-4AE6-91C9-F6B63F8EA950}" destId="{AF9D1B28-55D2-4661-9B48-D46DD7C6F172}" srcOrd="4" destOrd="0" presId="urn:microsoft.com/office/officeart/2008/layout/AlternatingHexagons"/>
    <dgm:cxn modelId="{240E051A-EE55-44EC-96C1-76435528508A}" type="presParOf" srcId="{8BE07AC0-1B92-45C8-9622-1773B6DCDB11}" destId="{C7C4B145-67F5-4B82-B73F-A039D364D3D0}" srcOrd="1" destOrd="0" presId="urn:microsoft.com/office/officeart/2008/layout/AlternatingHexagons"/>
    <dgm:cxn modelId="{C9E9E6B1-DA1B-4E2A-997C-9980FA044E80}" type="presParOf" srcId="{8BE07AC0-1B92-45C8-9622-1773B6DCDB11}" destId="{8A8D0D2A-B22B-4B00-8688-0B1A8A8C846F}" srcOrd="2" destOrd="0" presId="urn:microsoft.com/office/officeart/2008/layout/AlternatingHexagons"/>
    <dgm:cxn modelId="{2AA6B897-19FC-4AE9-9082-4814B2760973}" type="presParOf" srcId="{8A8D0D2A-B22B-4B00-8688-0B1A8A8C846F}" destId="{0E654833-B3D7-4466-92A7-52D61721734B}" srcOrd="0" destOrd="0" presId="urn:microsoft.com/office/officeart/2008/layout/AlternatingHexagons"/>
    <dgm:cxn modelId="{F8671C3E-E405-46A5-BB55-FF751E8F97DF}" type="presParOf" srcId="{8A8D0D2A-B22B-4B00-8688-0B1A8A8C846F}" destId="{A63FCDCD-9300-424B-B5F3-2490EC955C86}" srcOrd="1" destOrd="0" presId="urn:microsoft.com/office/officeart/2008/layout/AlternatingHexagons"/>
    <dgm:cxn modelId="{446CB28C-40DC-48DB-8684-69E7FDD1FFB5}" type="presParOf" srcId="{8A8D0D2A-B22B-4B00-8688-0B1A8A8C846F}" destId="{43240BA0-AF47-4589-A789-357B26C50FF8}" srcOrd="2" destOrd="0" presId="urn:microsoft.com/office/officeart/2008/layout/AlternatingHexagons"/>
    <dgm:cxn modelId="{591A0DC0-B5A9-4D12-B2D8-9C5CB4D1FD38}" type="presParOf" srcId="{8A8D0D2A-B22B-4B00-8688-0B1A8A8C846F}" destId="{AC2F0254-3147-4360-97F3-BE099343FD41}" srcOrd="3" destOrd="0" presId="urn:microsoft.com/office/officeart/2008/layout/AlternatingHexagons"/>
    <dgm:cxn modelId="{B5C28D50-59BC-429D-85A9-44705FF5E2DC}" type="presParOf" srcId="{8A8D0D2A-B22B-4B00-8688-0B1A8A8C846F}" destId="{9A83753A-2CBC-46D5-A237-7CD32146492C}" srcOrd="4" destOrd="0" presId="urn:microsoft.com/office/officeart/2008/layout/AlternatingHexagons"/>
    <dgm:cxn modelId="{D5A912C1-4CDE-4208-AFC1-0AB375F42C28}" type="presParOf" srcId="{8BE07AC0-1B92-45C8-9622-1773B6DCDB11}" destId="{787A8707-6804-482C-AFBE-C348B9168B4A}" srcOrd="3" destOrd="0" presId="urn:microsoft.com/office/officeart/2008/layout/AlternatingHexagons"/>
    <dgm:cxn modelId="{99EC7A8F-809A-4BF1-ACB6-5B4CF3F2D94F}" type="presParOf" srcId="{8BE07AC0-1B92-45C8-9622-1773B6DCDB11}" destId="{7A6A520D-7931-486E-B148-A6B0B83367A9}" srcOrd="4" destOrd="0" presId="urn:microsoft.com/office/officeart/2008/layout/AlternatingHexagons"/>
    <dgm:cxn modelId="{4A91271B-D6A2-4508-AFB8-6D6575C8C5C2}" type="presParOf" srcId="{7A6A520D-7931-486E-B148-A6B0B83367A9}" destId="{D2E1E186-8C78-4977-9223-FD67ACF0AAFF}" srcOrd="0" destOrd="0" presId="urn:microsoft.com/office/officeart/2008/layout/AlternatingHexagons"/>
    <dgm:cxn modelId="{CC2DCA85-DC09-4F8F-B812-8DF4506FEE3B}" type="presParOf" srcId="{7A6A520D-7931-486E-B148-A6B0B83367A9}" destId="{89B2CB3C-27CC-44EB-BAAE-8724FF87BCA9}" srcOrd="1" destOrd="0" presId="urn:microsoft.com/office/officeart/2008/layout/AlternatingHexagons"/>
    <dgm:cxn modelId="{8E564FB8-E768-45B6-BD80-A78FB661F10E}" type="presParOf" srcId="{7A6A520D-7931-486E-B148-A6B0B83367A9}" destId="{7D3E8CAB-0C66-44B4-BED1-BBC4315DC3AE}" srcOrd="2" destOrd="0" presId="urn:microsoft.com/office/officeart/2008/layout/AlternatingHexagons"/>
    <dgm:cxn modelId="{F4B24F5C-3E70-4FA0-9D64-C2B0E0D0E421}" type="presParOf" srcId="{7A6A520D-7931-486E-B148-A6B0B83367A9}" destId="{DD0EC311-C053-408A-B696-5728E695C95B}" srcOrd="3" destOrd="0" presId="urn:microsoft.com/office/officeart/2008/layout/AlternatingHexagons"/>
    <dgm:cxn modelId="{B8684CE6-D2C3-43B6-8CDF-A63DEE4DBB78}" type="presParOf" srcId="{7A6A520D-7931-486E-B148-A6B0B83367A9}" destId="{9FF7C39B-A2FA-439F-90BC-D1F836A75373}" srcOrd="4" destOrd="0" presId="urn:microsoft.com/office/officeart/2008/layout/AlternatingHexagons"/>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FA4AC6-E825-4477-B889-F9C66C1195B8}">
      <dsp:nvSpPr>
        <dsp:cNvPr id="0" name=""/>
        <dsp:cNvSpPr/>
      </dsp:nvSpPr>
      <dsp:spPr>
        <a:xfrm>
          <a:off x="960133" y="0"/>
          <a:ext cx="960133" cy="792110"/>
        </a:xfrm>
        <a:prstGeom prst="trapezoid">
          <a:avLst>
            <a:gd name="adj" fmla="val 60606"/>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br>
            <a:rPr lang="pl-PL" sz="2400" kern="1200"/>
          </a:br>
          <a:r>
            <a:rPr lang="en-US" sz="2400" kern="1200" dirty="0"/>
            <a:t>UI</a:t>
          </a:r>
        </a:p>
      </dsp:txBody>
      <dsp:txXfrm>
        <a:off x="960133" y="0"/>
        <a:ext cx="960133" cy="792110"/>
      </dsp:txXfrm>
    </dsp:sp>
    <dsp:sp modelId="{3DF1A04F-9824-4FA2-8E9B-69197A34DB02}">
      <dsp:nvSpPr>
        <dsp:cNvPr id="0" name=""/>
        <dsp:cNvSpPr/>
      </dsp:nvSpPr>
      <dsp:spPr>
        <a:xfrm>
          <a:off x="480066" y="792110"/>
          <a:ext cx="1920266" cy="792110"/>
        </a:xfrm>
        <a:prstGeom prst="trapezoid">
          <a:avLst>
            <a:gd name="adj" fmla="val 60606"/>
          </a:avLst>
        </a:prstGeom>
        <a:solidFill>
          <a:schemeClr val="accent5">
            <a:shade val="80000"/>
            <a:hueOff val="174641"/>
            <a:satOff val="-3128"/>
            <a:lumOff val="1329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kern="1200" dirty="0"/>
            <a:t>API</a:t>
          </a:r>
        </a:p>
      </dsp:txBody>
      <dsp:txXfrm>
        <a:off x="816113" y="792110"/>
        <a:ext cx="1248173" cy="792110"/>
      </dsp:txXfrm>
    </dsp:sp>
    <dsp:sp modelId="{D9074314-C21A-447C-9E4D-59C6F495C412}">
      <dsp:nvSpPr>
        <dsp:cNvPr id="0" name=""/>
        <dsp:cNvSpPr/>
      </dsp:nvSpPr>
      <dsp:spPr>
        <a:xfrm>
          <a:off x="0" y="1584220"/>
          <a:ext cx="2880399" cy="792110"/>
        </a:xfrm>
        <a:prstGeom prst="trapezoid">
          <a:avLst>
            <a:gd name="adj" fmla="val 60606"/>
          </a:avLst>
        </a:prstGeom>
        <a:solidFill>
          <a:schemeClr val="accent5">
            <a:shade val="8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kern="1200" dirty="0"/>
            <a:t>Backend</a:t>
          </a:r>
        </a:p>
      </dsp:txBody>
      <dsp:txXfrm>
        <a:off x="504069" y="1584220"/>
        <a:ext cx="1872260" cy="79211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4D588B-2C5E-413E-8FB3-A45A598FE77E}">
      <dsp:nvSpPr>
        <dsp:cNvPr id="0" name=""/>
        <dsp:cNvSpPr/>
      </dsp:nvSpPr>
      <dsp:spPr>
        <a:xfrm>
          <a:off x="2678" y="3051582"/>
          <a:ext cx="6323511" cy="1365125"/>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noProof="0" dirty="0"/>
            <a:t>Database module</a:t>
          </a:r>
        </a:p>
      </dsp:txBody>
      <dsp:txXfrm>
        <a:off x="42661" y="3091565"/>
        <a:ext cx="6243545" cy="1285159"/>
      </dsp:txXfrm>
    </dsp:sp>
    <dsp:sp modelId="{CDB456C7-FEB2-4189-8DB4-859E0B913BE7}">
      <dsp:nvSpPr>
        <dsp:cNvPr id="0" name=""/>
        <dsp:cNvSpPr/>
      </dsp:nvSpPr>
      <dsp:spPr>
        <a:xfrm>
          <a:off x="5076305" y="113842"/>
          <a:ext cx="1262083" cy="2803352"/>
        </a:xfrm>
        <a:prstGeom prst="roundRect">
          <a:avLst>
            <a:gd name="adj" fmla="val 10000"/>
          </a:avLst>
        </a:prstGeom>
        <a:solidFill>
          <a:srgbClr val="6A9529"/>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noProof="0" dirty="0"/>
            <a:t>Security module</a:t>
          </a:r>
        </a:p>
      </dsp:txBody>
      <dsp:txXfrm>
        <a:off x="5113270" y="150807"/>
        <a:ext cx="1188153" cy="2729422"/>
      </dsp:txXfrm>
    </dsp:sp>
    <dsp:sp modelId="{79946D67-CF20-4533-873C-9747C402A031}">
      <dsp:nvSpPr>
        <dsp:cNvPr id="0" name=""/>
        <dsp:cNvSpPr/>
      </dsp:nvSpPr>
      <dsp:spPr>
        <a:xfrm>
          <a:off x="24245" y="1566452"/>
          <a:ext cx="4943068" cy="1365125"/>
        </a:xfrm>
        <a:prstGeom prst="roundRect">
          <a:avLst>
            <a:gd name="adj" fmla="val 1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noProof="0" dirty="0"/>
            <a:t>WebAPI module</a:t>
          </a:r>
        </a:p>
      </dsp:txBody>
      <dsp:txXfrm>
        <a:off x="64228" y="1606435"/>
        <a:ext cx="4863102" cy="1285159"/>
      </dsp:txXfrm>
    </dsp:sp>
    <dsp:sp modelId="{7951CDCD-4F97-4CCA-8C56-4992B72B07BB}">
      <dsp:nvSpPr>
        <dsp:cNvPr id="0" name=""/>
        <dsp:cNvSpPr/>
      </dsp:nvSpPr>
      <dsp:spPr>
        <a:xfrm>
          <a:off x="22161" y="110984"/>
          <a:ext cx="1729748" cy="1365125"/>
        </a:xfrm>
        <a:prstGeom prst="roundRect">
          <a:avLst>
            <a:gd name="adj" fmla="val 10000"/>
          </a:avLst>
        </a:prstGeom>
        <a:solidFill>
          <a:srgbClr val="D23C00"/>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noProof="0" dirty="0"/>
            <a:t>Browser</a:t>
          </a:r>
          <a:br>
            <a:rPr lang="en-US" sz="1300" b="1" kern="1200" noProof="0" dirty="0"/>
          </a:br>
          <a:br>
            <a:rPr lang="en-US" sz="1300" b="1" kern="1200" noProof="0" dirty="0"/>
          </a:br>
          <a:r>
            <a:rPr lang="en-US" sz="1300" b="0" kern="1200" noProof="0" dirty="0"/>
            <a:t>(Selenium) </a:t>
          </a:r>
          <a:br>
            <a:rPr lang="en-US" sz="1300" kern="1200" noProof="0" dirty="0"/>
          </a:br>
          <a:r>
            <a:rPr lang="en-US" sz="1300" kern="1200" noProof="0" dirty="0"/>
            <a:t>UI module               Grid</a:t>
          </a:r>
        </a:p>
      </dsp:txBody>
      <dsp:txXfrm>
        <a:off x="62144" y="150967"/>
        <a:ext cx="1649782" cy="1285159"/>
      </dsp:txXfrm>
    </dsp:sp>
    <dsp:sp modelId="{D8A6C93A-917D-4567-B16D-E30EEE8A93BD}">
      <dsp:nvSpPr>
        <dsp:cNvPr id="0" name=""/>
        <dsp:cNvSpPr/>
      </dsp:nvSpPr>
      <dsp:spPr>
        <a:xfrm>
          <a:off x="1849961" y="110984"/>
          <a:ext cx="1761351" cy="1365125"/>
        </a:xfrm>
        <a:prstGeom prst="roundRect">
          <a:avLst>
            <a:gd name="adj" fmla="val 10000"/>
          </a:avLst>
        </a:prstGeom>
        <a:solidFill>
          <a:srgbClr val="D23C00"/>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noProof="0" dirty="0"/>
            <a:t>Mobile</a:t>
          </a:r>
          <a:br>
            <a:rPr lang="en-US" sz="1300" kern="1200" noProof="0" dirty="0"/>
          </a:br>
          <a:r>
            <a:rPr lang="en-US" sz="1300" kern="1200" noProof="0" dirty="0"/>
            <a:t> </a:t>
          </a:r>
          <a:br>
            <a:rPr lang="en-US" sz="1300" kern="1200" noProof="0" dirty="0"/>
          </a:br>
          <a:r>
            <a:rPr lang="en-US" sz="1300" kern="1200" noProof="0" dirty="0"/>
            <a:t>(Appium) app</a:t>
          </a:r>
          <a:r>
            <a:rPr lang="de-DE" sz="1300" kern="1200" noProof="0" dirty="0"/>
            <a:t>       </a:t>
          </a:r>
          <a:r>
            <a:rPr lang="en-US" sz="1300" kern="1200" noProof="0" dirty="0"/>
            <a:t>Grid</a:t>
          </a:r>
        </a:p>
      </dsp:txBody>
      <dsp:txXfrm>
        <a:off x="1889944" y="150967"/>
        <a:ext cx="1681385" cy="1285159"/>
      </dsp:txXfrm>
    </dsp:sp>
    <dsp:sp modelId="{9A46057F-5CDA-4B57-BF6D-897D216AF86F}">
      <dsp:nvSpPr>
        <dsp:cNvPr id="0" name=""/>
        <dsp:cNvSpPr/>
      </dsp:nvSpPr>
      <dsp:spPr>
        <a:xfrm>
          <a:off x="3705313" y="113838"/>
          <a:ext cx="1262083" cy="1365125"/>
        </a:xfrm>
        <a:prstGeom prst="roundRect">
          <a:avLst>
            <a:gd name="adj" fmla="val 10000"/>
          </a:avLst>
        </a:prstGeom>
        <a:solidFill>
          <a:srgbClr val="D23C00"/>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noProof="0" dirty="0"/>
            <a:t>Standalone</a:t>
          </a:r>
          <a:br>
            <a:rPr lang="en-US" sz="1300" b="1" kern="1200" noProof="0" dirty="0"/>
          </a:br>
          <a:br>
            <a:rPr lang="en-US" sz="1300" b="1" kern="1200" noProof="0" dirty="0"/>
          </a:br>
          <a:r>
            <a:rPr lang="en-US" sz="1300" kern="1200" noProof="0" dirty="0"/>
            <a:t> Application</a:t>
          </a:r>
        </a:p>
      </dsp:txBody>
      <dsp:txXfrm>
        <a:off x="3742278" y="150803"/>
        <a:ext cx="1188153" cy="1291195"/>
      </dsp:txXfrm>
    </dsp:sp>
    <dsp:sp modelId="{1F321622-6935-42D4-AE83-D556256DD586}">
      <dsp:nvSpPr>
        <dsp:cNvPr id="0" name=""/>
        <dsp:cNvSpPr/>
      </dsp:nvSpPr>
      <dsp:spPr>
        <a:xfrm>
          <a:off x="7850552" y="107909"/>
          <a:ext cx="1264552" cy="4308798"/>
        </a:xfrm>
        <a:prstGeom prst="roundRect">
          <a:avLst>
            <a:gd name="adj" fmla="val 10000"/>
          </a:avLst>
        </a:prstGeom>
        <a:solidFill>
          <a:srgbClr val="0085B3"/>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noProof="0" dirty="0"/>
            <a:t>DevOps module</a:t>
          </a:r>
        </a:p>
      </dsp:txBody>
      <dsp:txXfrm>
        <a:off x="7887589" y="144946"/>
        <a:ext cx="1190478" cy="4234724"/>
      </dsp:txXfrm>
    </dsp:sp>
    <dsp:sp modelId="{AF9421C1-0977-4165-AE01-1E0941FF1DC2}">
      <dsp:nvSpPr>
        <dsp:cNvPr id="0" name=""/>
        <dsp:cNvSpPr/>
      </dsp:nvSpPr>
      <dsp:spPr>
        <a:xfrm>
          <a:off x="6457212" y="127280"/>
          <a:ext cx="1264552" cy="4289427"/>
        </a:xfrm>
        <a:prstGeom prst="roundRect">
          <a:avLst>
            <a:gd name="adj" fmla="val 10000"/>
          </a:avLst>
        </a:prstGeom>
        <a:solidFill>
          <a:srgbClr val="0085B3"/>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noProof="0" dirty="0"/>
            <a:t>Test core module</a:t>
          </a:r>
        </a:p>
      </dsp:txBody>
      <dsp:txXfrm>
        <a:off x="6494249" y="164317"/>
        <a:ext cx="1190478" cy="4215353"/>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FA4AC6-E825-4477-B889-F9C66C1195B8}">
      <dsp:nvSpPr>
        <dsp:cNvPr id="0" name=""/>
        <dsp:cNvSpPr/>
      </dsp:nvSpPr>
      <dsp:spPr>
        <a:xfrm>
          <a:off x="1098655" y="0"/>
          <a:ext cx="1143588" cy="1533508"/>
        </a:xfrm>
        <a:prstGeom prst="trapezoid">
          <a:avLst>
            <a:gd name="adj" fmla="val 50000"/>
          </a:avLst>
        </a:prstGeom>
        <a:solidFill>
          <a:srgbClr val="D23C00"/>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br>
            <a:rPr lang="pl-PL" sz="2400" kern="1200" dirty="0"/>
          </a:br>
          <a:r>
            <a:rPr lang="en-US" sz="2400" b="1" kern="1200" dirty="0">
              <a:solidFill>
                <a:schemeClr val="bg1"/>
              </a:solidFill>
            </a:rPr>
            <a:t>UI</a:t>
          </a:r>
        </a:p>
      </dsp:txBody>
      <dsp:txXfrm>
        <a:off x="1098655" y="0"/>
        <a:ext cx="1143588" cy="1533508"/>
      </dsp:txXfrm>
    </dsp:sp>
    <dsp:sp modelId="{3DF1A04F-9824-4FA2-8E9B-69197A34DB02}">
      <dsp:nvSpPr>
        <dsp:cNvPr id="0" name=""/>
        <dsp:cNvSpPr/>
      </dsp:nvSpPr>
      <dsp:spPr>
        <a:xfrm>
          <a:off x="563564" y="1541487"/>
          <a:ext cx="2225613" cy="1450953"/>
        </a:xfrm>
        <a:prstGeom prst="trapezoid">
          <a:avLst>
            <a:gd name="adj" fmla="val 37287"/>
          </a:avLst>
        </a:prstGeom>
        <a:solidFill>
          <a:schemeClr val="accent3"/>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bg1"/>
              </a:solidFill>
            </a:rPr>
            <a:t>API</a:t>
          </a:r>
        </a:p>
      </dsp:txBody>
      <dsp:txXfrm>
        <a:off x="953046" y="1541487"/>
        <a:ext cx="1446648" cy="1450953"/>
      </dsp:txXfrm>
    </dsp:sp>
    <dsp:sp modelId="{D9074314-C21A-447C-9E4D-59C6F495C412}">
      <dsp:nvSpPr>
        <dsp:cNvPr id="0" name=""/>
        <dsp:cNvSpPr/>
      </dsp:nvSpPr>
      <dsp:spPr>
        <a:xfrm>
          <a:off x="0" y="2984461"/>
          <a:ext cx="3329416" cy="1480158"/>
        </a:xfrm>
        <a:prstGeom prst="trapezoid">
          <a:avLst>
            <a:gd name="adj" fmla="val 37287"/>
          </a:avLst>
        </a:prstGeom>
        <a:solidFill>
          <a:schemeClr val="accent1"/>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pl-PL" sz="2400" b="1" kern="1200" dirty="0">
              <a:solidFill>
                <a:schemeClr val="bg1"/>
              </a:solidFill>
            </a:rPr>
            <a:t>BACKEND</a:t>
          </a:r>
          <a:endParaRPr lang="en-US" sz="2400" b="1" kern="1200" dirty="0">
            <a:solidFill>
              <a:schemeClr val="bg1"/>
            </a:solidFill>
          </a:endParaRPr>
        </a:p>
      </dsp:txBody>
      <dsp:txXfrm>
        <a:off x="582647" y="2984461"/>
        <a:ext cx="2164121" cy="148015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8CC475-44FF-4EF6-A0FF-7F5AB70B9092}">
      <dsp:nvSpPr>
        <dsp:cNvPr id="0" name=""/>
        <dsp:cNvSpPr/>
      </dsp:nvSpPr>
      <dsp:spPr>
        <a:xfrm>
          <a:off x="3933802" y="1021"/>
          <a:ext cx="1004027" cy="810578"/>
        </a:xfrm>
        <a:prstGeom prst="rightArrow">
          <a:avLst>
            <a:gd name="adj1" fmla="val 75000"/>
            <a:gd name="adj2" fmla="val 50000"/>
          </a:avLst>
        </a:prstGeom>
        <a:solidFill>
          <a:schemeClr val="accent2">
            <a:tint val="40000"/>
            <a:alpha val="90000"/>
            <a:hueOff val="0"/>
            <a:satOff val="0"/>
            <a:lumOff val="0"/>
            <a:alphaOff val="0"/>
          </a:schemeClr>
        </a:solidFill>
        <a:ln w="6350" cap="flat" cmpd="sng" algn="ctr">
          <a:solidFill>
            <a:schemeClr val="accent2">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5BC9D3B4-AF9C-4AF7-91E0-64CA69BFC99F}">
      <dsp:nvSpPr>
        <dsp:cNvPr id="0" name=""/>
        <dsp:cNvSpPr/>
      </dsp:nvSpPr>
      <dsp:spPr>
        <a:xfrm>
          <a:off x="1399050" y="1021"/>
          <a:ext cx="2534752" cy="810578"/>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40005" rIns="80010" bIns="40005" numCol="1" spcCol="1270" anchor="ctr" anchorCtr="0">
          <a:noAutofit/>
        </a:bodyPr>
        <a:lstStyle/>
        <a:p>
          <a:pPr marL="0" lvl="0" indent="0" algn="ctr" defTabSz="933450">
            <a:lnSpc>
              <a:spcPct val="90000"/>
            </a:lnSpc>
            <a:spcBef>
              <a:spcPct val="0"/>
            </a:spcBef>
            <a:spcAft>
              <a:spcPct val="35000"/>
            </a:spcAft>
            <a:buNone/>
          </a:pPr>
          <a:r>
            <a:rPr lang="en-US" sz="2100" kern="1200" noProof="0" dirty="0">
              <a:latin typeface="Calibri" pitchFamily="34" charset="0"/>
            </a:rPr>
            <a:t>Process defragmentation</a:t>
          </a:r>
          <a:endParaRPr lang="en-US" sz="2100" kern="1200" noProof="0" dirty="0"/>
        </a:p>
      </dsp:txBody>
      <dsp:txXfrm>
        <a:off x="1438619" y="40590"/>
        <a:ext cx="2455614" cy="731440"/>
      </dsp:txXfrm>
    </dsp:sp>
    <dsp:sp modelId="{D6E33E55-7CBC-4829-AC86-6026E66B94C0}">
      <dsp:nvSpPr>
        <dsp:cNvPr id="0" name=""/>
        <dsp:cNvSpPr/>
      </dsp:nvSpPr>
      <dsp:spPr>
        <a:xfrm>
          <a:off x="3933802" y="892658"/>
          <a:ext cx="1004027" cy="810578"/>
        </a:xfrm>
        <a:prstGeom prst="rightArrow">
          <a:avLst>
            <a:gd name="adj1" fmla="val 75000"/>
            <a:gd name="adj2" fmla="val 50000"/>
          </a:avLst>
        </a:prstGeom>
        <a:solidFill>
          <a:schemeClr val="accent2">
            <a:tint val="40000"/>
            <a:alpha val="90000"/>
            <a:hueOff val="1238624"/>
            <a:satOff val="-18594"/>
            <a:lumOff val="-2299"/>
            <a:alphaOff val="0"/>
          </a:schemeClr>
        </a:solidFill>
        <a:ln w="6350" cap="flat" cmpd="sng" algn="ctr">
          <a:solidFill>
            <a:schemeClr val="accent2">
              <a:tint val="40000"/>
              <a:alpha val="90000"/>
              <a:hueOff val="1238624"/>
              <a:satOff val="-18594"/>
              <a:lumOff val="-2299"/>
              <a:alphaOff val="0"/>
            </a:schemeClr>
          </a:solidFill>
          <a:prstDash val="solid"/>
          <a:miter lim="800000"/>
        </a:ln>
        <a:effectLst/>
      </dsp:spPr>
      <dsp:style>
        <a:lnRef idx="1">
          <a:scrgbClr r="0" g="0" b="0"/>
        </a:lnRef>
        <a:fillRef idx="1">
          <a:scrgbClr r="0" g="0" b="0"/>
        </a:fillRef>
        <a:effectRef idx="0">
          <a:scrgbClr r="0" g="0" b="0"/>
        </a:effectRef>
        <a:fontRef idx="minor"/>
      </dsp:style>
    </dsp:sp>
    <dsp:sp modelId="{C2CCEF63-634C-4D78-AC8C-3F4D429FDC05}">
      <dsp:nvSpPr>
        <dsp:cNvPr id="0" name=""/>
        <dsp:cNvSpPr/>
      </dsp:nvSpPr>
      <dsp:spPr>
        <a:xfrm>
          <a:off x="1399050" y="892658"/>
          <a:ext cx="2534752" cy="810578"/>
        </a:xfrm>
        <a:prstGeom prst="roundRect">
          <a:avLst/>
        </a:prstGeom>
        <a:gradFill rotWithShape="0">
          <a:gsLst>
            <a:gs pos="0">
              <a:schemeClr val="accent2">
                <a:hueOff val="1586492"/>
                <a:satOff val="-11402"/>
                <a:lumOff val="-10195"/>
                <a:alphaOff val="0"/>
                <a:satMod val="103000"/>
                <a:lumMod val="102000"/>
                <a:tint val="94000"/>
              </a:schemeClr>
            </a:gs>
            <a:gs pos="50000">
              <a:schemeClr val="accent2">
                <a:hueOff val="1586492"/>
                <a:satOff val="-11402"/>
                <a:lumOff val="-10195"/>
                <a:alphaOff val="0"/>
                <a:satMod val="110000"/>
                <a:lumMod val="100000"/>
                <a:shade val="100000"/>
              </a:schemeClr>
            </a:gs>
            <a:gs pos="100000">
              <a:schemeClr val="accent2">
                <a:hueOff val="1586492"/>
                <a:satOff val="-11402"/>
                <a:lumOff val="-10195"/>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40005" rIns="80010" bIns="40005" numCol="1" spcCol="1270" anchor="ctr" anchorCtr="0">
          <a:noAutofit/>
        </a:bodyPr>
        <a:lstStyle/>
        <a:p>
          <a:pPr marL="0" lvl="0" indent="0" algn="ctr" defTabSz="933450">
            <a:lnSpc>
              <a:spcPct val="90000"/>
            </a:lnSpc>
            <a:spcBef>
              <a:spcPct val="0"/>
            </a:spcBef>
            <a:spcAft>
              <a:spcPct val="35000"/>
            </a:spcAft>
            <a:buNone/>
          </a:pPr>
          <a:r>
            <a:rPr lang="en-US" sz="2100" kern="1200" noProof="0" dirty="0">
              <a:latin typeface="Calibri" pitchFamily="34" charset="0"/>
            </a:rPr>
            <a:t>Team silos</a:t>
          </a:r>
        </a:p>
      </dsp:txBody>
      <dsp:txXfrm>
        <a:off x="1438619" y="932227"/>
        <a:ext cx="2455614" cy="731440"/>
      </dsp:txXfrm>
    </dsp:sp>
    <dsp:sp modelId="{88B7029B-AE09-47A0-8EDC-1BF164FBAB1B}">
      <dsp:nvSpPr>
        <dsp:cNvPr id="0" name=""/>
        <dsp:cNvSpPr/>
      </dsp:nvSpPr>
      <dsp:spPr>
        <a:xfrm>
          <a:off x="3933802" y="1784295"/>
          <a:ext cx="1004027" cy="810578"/>
        </a:xfrm>
        <a:prstGeom prst="rightArrow">
          <a:avLst>
            <a:gd name="adj1" fmla="val 75000"/>
            <a:gd name="adj2" fmla="val 50000"/>
          </a:avLst>
        </a:prstGeom>
        <a:solidFill>
          <a:schemeClr val="accent2">
            <a:tint val="40000"/>
            <a:alpha val="90000"/>
            <a:hueOff val="2477247"/>
            <a:satOff val="-37187"/>
            <a:lumOff val="-4599"/>
            <a:alphaOff val="0"/>
          </a:schemeClr>
        </a:solidFill>
        <a:ln w="6350" cap="flat" cmpd="sng" algn="ctr">
          <a:solidFill>
            <a:schemeClr val="accent2">
              <a:tint val="40000"/>
              <a:alpha val="90000"/>
              <a:hueOff val="2477247"/>
              <a:satOff val="-37187"/>
              <a:lumOff val="-4599"/>
              <a:alphaOff val="0"/>
            </a:schemeClr>
          </a:solidFill>
          <a:prstDash val="solid"/>
          <a:miter lim="800000"/>
        </a:ln>
        <a:effectLst/>
      </dsp:spPr>
      <dsp:style>
        <a:lnRef idx="1">
          <a:scrgbClr r="0" g="0" b="0"/>
        </a:lnRef>
        <a:fillRef idx="1">
          <a:scrgbClr r="0" g="0" b="0"/>
        </a:fillRef>
        <a:effectRef idx="0">
          <a:scrgbClr r="0" g="0" b="0"/>
        </a:effectRef>
        <a:fontRef idx="minor"/>
      </dsp:style>
    </dsp:sp>
    <dsp:sp modelId="{E6AD3F7E-70F2-42DF-9148-394CBC172CD2}">
      <dsp:nvSpPr>
        <dsp:cNvPr id="0" name=""/>
        <dsp:cNvSpPr/>
      </dsp:nvSpPr>
      <dsp:spPr>
        <a:xfrm>
          <a:off x="1399050" y="1784295"/>
          <a:ext cx="2534752" cy="810578"/>
        </a:xfrm>
        <a:prstGeom prst="roundRect">
          <a:avLst/>
        </a:prstGeom>
        <a:gradFill rotWithShape="0">
          <a:gsLst>
            <a:gs pos="0">
              <a:schemeClr val="accent2">
                <a:hueOff val="3172984"/>
                <a:satOff val="-22804"/>
                <a:lumOff val="-20391"/>
                <a:alphaOff val="0"/>
                <a:satMod val="103000"/>
                <a:lumMod val="102000"/>
                <a:tint val="94000"/>
              </a:schemeClr>
            </a:gs>
            <a:gs pos="50000">
              <a:schemeClr val="accent2">
                <a:hueOff val="3172984"/>
                <a:satOff val="-22804"/>
                <a:lumOff val="-20391"/>
                <a:alphaOff val="0"/>
                <a:satMod val="110000"/>
                <a:lumMod val="100000"/>
                <a:shade val="100000"/>
              </a:schemeClr>
            </a:gs>
            <a:gs pos="100000">
              <a:schemeClr val="accent2">
                <a:hueOff val="3172984"/>
                <a:satOff val="-22804"/>
                <a:lumOff val="-20391"/>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40005" rIns="80010" bIns="40005" numCol="1" spcCol="1270" anchor="ctr" anchorCtr="0">
          <a:noAutofit/>
        </a:bodyPr>
        <a:lstStyle/>
        <a:p>
          <a:pPr marL="0" lvl="0" indent="0" algn="ctr" defTabSz="933450">
            <a:lnSpc>
              <a:spcPct val="90000"/>
            </a:lnSpc>
            <a:spcBef>
              <a:spcPct val="0"/>
            </a:spcBef>
            <a:spcAft>
              <a:spcPct val="35000"/>
            </a:spcAft>
            <a:buNone/>
          </a:pPr>
          <a:r>
            <a:rPr lang="en-US" sz="2100" kern="1200" noProof="0" dirty="0">
              <a:latin typeface="Calibri" pitchFamily="34" charset="0"/>
            </a:rPr>
            <a:t>Validation at the last deliverable stage</a:t>
          </a:r>
        </a:p>
      </dsp:txBody>
      <dsp:txXfrm>
        <a:off x="1438619" y="1823864"/>
        <a:ext cx="2455614" cy="731440"/>
      </dsp:txXfrm>
    </dsp:sp>
    <dsp:sp modelId="{D83CAC71-BA4B-478D-842E-BF9523242B74}">
      <dsp:nvSpPr>
        <dsp:cNvPr id="0" name=""/>
        <dsp:cNvSpPr/>
      </dsp:nvSpPr>
      <dsp:spPr>
        <a:xfrm>
          <a:off x="3933802" y="2675932"/>
          <a:ext cx="1004027" cy="810578"/>
        </a:xfrm>
        <a:prstGeom prst="rightArrow">
          <a:avLst>
            <a:gd name="adj1" fmla="val 75000"/>
            <a:gd name="adj2" fmla="val 50000"/>
          </a:avLst>
        </a:prstGeom>
        <a:solidFill>
          <a:schemeClr val="accent2">
            <a:tint val="40000"/>
            <a:alpha val="90000"/>
            <a:hueOff val="3715871"/>
            <a:satOff val="-55781"/>
            <a:lumOff val="-6898"/>
            <a:alphaOff val="0"/>
          </a:schemeClr>
        </a:solidFill>
        <a:ln w="6350" cap="flat" cmpd="sng" algn="ctr">
          <a:solidFill>
            <a:schemeClr val="accent2">
              <a:tint val="40000"/>
              <a:alpha val="90000"/>
              <a:hueOff val="3715871"/>
              <a:satOff val="-55781"/>
              <a:lumOff val="-6898"/>
              <a:alphaOff val="0"/>
            </a:schemeClr>
          </a:solidFill>
          <a:prstDash val="solid"/>
          <a:miter lim="800000"/>
        </a:ln>
        <a:effectLst/>
      </dsp:spPr>
      <dsp:style>
        <a:lnRef idx="1">
          <a:scrgbClr r="0" g="0" b="0"/>
        </a:lnRef>
        <a:fillRef idx="1">
          <a:scrgbClr r="0" g="0" b="0"/>
        </a:fillRef>
        <a:effectRef idx="0">
          <a:scrgbClr r="0" g="0" b="0"/>
        </a:effectRef>
        <a:fontRef idx="minor"/>
      </dsp:style>
    </dsp:sp>
    <dsp:sp modelId="{F56B193F-A5FA-415D-B67A-374661462EFC}">
      <dsp:nvSpPr>
        <dsp:cNvPr id="0" name=""/>
        <dsp:cNvSpPr/>
      </dsp:nvSpPr>
      <dsp:spPr>
        <a:xfrm>
          <a:off x="1399050" y="2675932"/>
          <a:ext cx="2534752" cy="810578"/>
        </a:xfrm>
        <a:prstGeom prst="roundRect">
          <a:avLst/>
        </a:prstGeom>
        <a:gradFill rotWithShape="0">
          <a:gsLst>
            <a:gs pos="0">
              <a:schemeClr val="accent2">
                <a:hueOff val="4759476"/>
                <a:satOff val="-34206"/>
                <a:lumOff val="-30586"/>
                <a:alphaOff val="0"/>
                <a:satMod val="103000"/>
                <a:lumMod val="102000"/>
                <a:tint val="94000"/>
              </a:schemeClr>
            </a:gs>
            <a:gs pos="50000">
              <a:schemeClr val="accent2">
                <a:hueOff val="4759476"/>
                <a:satOff val="-34206"/>
                <a:lumOff val="-30586"/>
                <a:alphaOff val="0"/>
                <a:satMod val="110000"/>
                <a:lumMod val="100000"/>
                <a:shade val="100000"/>
              </a:schemeClr>
            </a:gs>
            <a:gs pos="100000">
              <a:schemeClr val="accent2">
                <a:hueOff val="4759476"/>
                <a:satOff val="-34206"/>
                <a:lumOff val="-30586"/>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40005" rIns="80010" bIns="40005" numCol="1" spcCol="1270" anchor="ctr" anchorCtr="0">
          <a:noAutofit/>
        </a:bodyPr>
        <a:lstStyle/>
        <a:p>
          <a:pPr marL="0" lvl="0" indent="0" algn="ctr" defTabSz="933450">
            <a:lnSpc>
              <a:spcPct val="90000"/>
            </a:lnSpc>
            <a:spcBef>
              <a:spcPct val="0"/>
            </a:spcBef>
            <a:spcAft>
              <a:spcPct val="35000"/>
            </a:spcAft>
            <a:buNone/>
          </a:pPr>
          <a:r>
            <a:rPr lang="en-US" sz="2100" kern="1200" noProof="0" dirty="0">
              <a:latin typeface="Calibri" pitchFamily="34" charset="0"/>
            </a:rPr>
            <a:t>Tools oriented approach</a:t>
          </a:r>
        </a:p>
      </dsp:txBody>
      <dsp:txXfrm>
        <a:off x="1438619" y="2715501"/>
        <a:ext cx="2455614" cy="7314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4D588B-2C5E-413E-8FB3-A45A598FE77E}">
      <dsp:nvSpPr>
        <dsp:cNvPr id="0" name=""/>
        <dsp:cNvSpPr/>
      </dsp:nvSpPr>
      <dsp:spPr>
        <a:xfrm>
          <a:off x="2678" y="3051582"/>
          <a:ext cx="6323511" cy="1365125"/>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noProof="0" dirty="0"/>
            <a:t>Database module</a:t>
          </a:r>
        </a:p>
      </dsp:txBody>
      <dsp:txXfrm>
        <a:off x="42661" y="3091565"/>
        <a:ext cx="6243545" cy="1285159"/>
      </dsp:txXfrm>
    </dsp:sp>
    <dsp:sp modelId="{CDB456C7-FEB2-4189-8DB4-859E0B913BE7}">
      <dsp:nvSpPr>
        <dsp:cNvPr id="0" name=""/>
        <dsp:cNvSpPr/>
      </dsp:nvSpPr>
      <dsp:spPr>
        <a:xfrm>
          <a:off x="5076305" y="113842"/>
          <a:ext cx="1262083" cy="2803352"/>
        </a:xfrm>
        <a:prstGeom prst="roundRect">
          <a:avLst>
            <a:gd name="adj" fmla="val 10000"/>
          </a:avLst>
        </a:prstGeom>
        <a:solidFill>
          <a:srgbClr val="6A9529"/>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noProof="0" dirty="0"/>
            <a:t>Security module</a:t>
          </a:r>
        </a:p>
      </dsp:txBody>
      <dsp:txXfrm>
        <a:off x="5113270" y="150807"/>
        <a:ext cx="1188153" cy="2729422"/>
      </dsp:txXfrm>
    </dsp:sp>
    <dsp:sp modelId="{79946D67-CF20-4533-873C-9747C402A031}">
      <dsp:nvSpPr>
        <dsp:cNvPr id="0" name=""/>
        <dsp:cNvSpPr/>
      </dsp:nvSpPr>
      <dsp:spPr>
        <a:xfrm>
          <a:off x="24245" y="1566452"/>
          <a:ext cx="4943068" cy="1365125"/>
        </a:xfrm>
        <a:prstGeom prst="roundRect">
          <a:avLst>
            <a:gd name="adj" fmla="val 1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noProof="0" dirty="0"/>
            <a:t>WebAPI module</a:t>
          </a:r>
        </a:p>
      </dsp:txBody>
      <dsp:txXfrm>
        <a:off x="64228" y="1606435"/>
        <a:ext cx="4863102" cy="1285159"/>
      </dsp:txXfrm>
    </dsp:sp>
    <dsp:sp modelId="{7951CDCD-4F97-4CCA-8C56-4992B72B07BB}">
      <dsp:nvSpPr>
        <dsp:cNvPr id="0" name=""/>
        <dsp:cNvSpPr/>
      </dsp:nvSpPr>
      <dsp:spPr>
        <a:xfrm>
          <a:off x="22161" y="110984"/>
          <a:ext cx="1729748" cy="1365125"/>
        </a:xfrm>
        <a:prstGeom prst="roundRect">
          <a:avLst>
            <a:gd name="adj" fmla="val 10000"/>
          </a:avLst>
        </a:prstGeom>
        <a:solidFill>
          <a:srgbClr val="D23C00"/>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noProof="0" dirty="0"/>
            <a:t>Browser</a:t>
          </a:r>
          <a:br>
            <a:rPr lang="en-US" sz="1300" b="1" kern="1200" noProof="0" dirty="0"/>
          </a:br>
          <a:br>
            <a:rPr lang="en-US" sz="1300" b="1" kern="1200" noProof="0" dirty="0"/>
          </a:br>
          <a:r>
            <a:rPr lang="en-US" sz="1300" b="0" kern="1200" noProof="0" dirty="0"/>
            <a:t>(Selenium) </a:t>
          </a:r>
          <a:br>
            <a:rPr lang="en-US" sz="1300" kern="1200" noProof="0" dirty="0"/>
          </a:br>
          <a:r>
            <a:rPr lang="en-US" sz="1300" kern="1200" noProof="0" dirty="0"/>
            <a:t>UI module               Grid</a:t>
          </a:r>
        </a:p>
      </dsp:txBody>
      <dsp:txXfrm>
        <a:off x="62144" y="150967"/>
        <a:ext cx="1649782" cy="1285159"/>
      </dsp:txXfrm>
    </dsp:sp>
    <dsp:sp modelId="{D8A6C93A-917D-4567-B16D-E30EEE8A93BD}">
      <dsp:nvSpPr>
        <dsp:cNvPr id="0" name=""/>
        <dsp:cNvSpPr/>
      </dsp:nvSpPr>
      <dsp:spPr>
        <a:xfrm>
          <a:off x="1849961" y="110984"/>
          <a:ext cx="1761351" cy="1365125"/>
        </a:xfrm>
        <a:prstGeom prst="roundRect">
          <a:avLst>
            <a:gd name="adj" fmla="val 10000"/>
          </a:avLst>
        </a:prstGeom>
        <a:solidFill>
          <a:srgbClr val="D23C00"/>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noProof="0" dirty="0"/>
            <a:t>Mobile</a:t>
          </a:r>
          <a:br>
            <a:rPr lang="en-US" sz="1300" kern="1200" noProof="0" dirty="0"/>
          </a:br>
          <a:r>
            <a:rPr lang="en-US" sz="1300" kern="1200" noProof="0" dirty="0"/>
            <a:t> </a:t>
          </a:r>
          <a:br>
            <a:rPr lang="en-US" sz="1300" kern="1200" noProof="0" dirty="0"/>
          </a:br>
          <a:r>
            <a:rPr lang="en-US" sz="1300" kern="1200" noProof="0" dirty="0"/>
            <a:t>(Appium) app</a:t>
          </a:r>
          <a:r>
            <a:rPr lang="de-DE" sz="1300" kern="1200" noProof="0" dirty="0"/>
            <a:t>       </a:t>
          </a:r>
          <a:r>
            <a:rPr lang="en-US" sz="1300" kern="1200" noProof="0" dirty="0"/>
            <a:t>Grid</a:t>
          </a:r>
        </a:p>
      </dsp:txBody>
      <dsp:txXfrm>
        <a:off x="1889944" y="150967"/>
        <a:ext cx="1681385" cy="1285159"/>
      </dsp:txXfrm>
    </dsp:sp>
    <dsp:sp modelId="{9A46057F-5CDA-4B57-BF6D-897D216AF86F}">
      <dsp:nvSpPr>
        <dsp:cNvPr id="0" name=""/>
        <dsp:cNvSpPr/>
      </dsp:nvSpPr>
      <dsp:spPr>
        <a:xfrm>
          <a:off x="3705313" y="113838"/>
          <a:ext cx="1262083" cy="1365125"/>
        </a:xfrm>
        <a:prstGeom prst="roundRect">
          <a:avLst>
            <a:gd name="adj" fmla="val 10000"/>
          </a:avLst>
        </a:prstGeom>
        <a:solidFill>
          <a:srgbClr val="D23C00"/>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noProof="0" dirty="0"/>
            <a:t>Standalone</a:t>
          </a:r>
          <a:br>
            <a:rPr lang="en-US" sz="1300" b="1" kern="1200" noProof="0" dirty="0"/>
          </a:br>
          <a:br>
            <a:rPr lang="en-US" sz="1300" b="1" kern="1200" noProof="0" dirty="0"/>
          </a:br>
          <a:r>
            <a:rPr lang="en-US" sz="1300" kern="1200" noProof="0" dirty="0"/>
            <a:t> Application</a:t>
          </a:r>
        </a:p>
      </dsp:txBody>
      <dsp:txXfrm>
        <a:off x="3742278" y="150803"/>
        <a:ext cx="1188153" cy="1291195"/>
      </dsp:txXfrm>
    </dsp:sp>
    <dsp:sp modelId="{1F321622-6935-42D4-AE83-D556256DD586}">
      <dsp:nvSpPr>
        <dsp:cNvPr id="0" name=""/>
        <dsp:cNvSpPr/>
      </dsp:nvSpPr>
      <dsp:spPr>
        <a:xfrm>
          <a:off x="7850552" y="107909"/>
          <a:ext cx="1264552" cy="4308798"/>
        </a:xfrm>
        <a:prstGeom prst="roundRect">
          <a:avLst>
            <a:gd name="adj" fmla="val 10000"/>
          </a:avLst>
        </a:prstGeom>
        <a:solidFill>
          <a:srgbClr val="0085B3"/>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noProof="0" dirty="0"/>
            <a:t>DevOps module</a:t>
          </a:r>
        </a:p>
      </dsp:txBody>
      <dsp:txXfrm>
        <a:off x="7887589" y="144946"/>
        <a:ext cx="1190478" cy="4234724"/>
      </dsp:txXfrm>
    </dsp:sp>
    <dsp:sp modelId="{AF9421C1-0977-4165-AE01-1E0941FF1DC2}">
      <dsp:nvSpPr>
        <dsp:cNvPr id="0" name=""/>
        <dsp:cNvSpPr/>
      </dsp:nvSpPr>
      <dsp:spPr>
        <a:xfrm>
          <a:off x="6457212" y="127280"/>
          <a:ext cx="1264552" cy="4289427"/>
        </a:xfrm>
        <a:prstGeom prst="roundRect">
          <a:avLst>
            <a:gd name="adj" fmla="val 10000"/>
          </a:avLst>
        </a:prstGeom>
        <a:solidFill>
          <a:srgbClr val="0085B3"/>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noProof="0" dirty="0"/>
            <a:t>Test core module</a:t>
          </a:r>
        </a:p>
      </dsp:txBody>
      <dsp:txXfrm>
        <a:off x="6494249" y="164317"/>
        <a:ext cx="1190478" cy="421535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FA4AC6-E825-4477-B889-F9C66C1195B8}">
      <dsp:nvSpPr>
        <dsp:cNvPr id="0" name=""/>
        <dsp:cNvSpPr/>
      </dsp:nvSpPr>
      <dsp:spPr>
        <a:xfrm>
          <a:off x="1098655" y="0"/>
          <a:ext cx="1143588" cy="1533508"/>
        </a:xfrm>
        <a:prstGeom prst="trapezoid">
          <a:avLst>
            <a:gd name="adj" fmla="val 50000"/>
          </a:avLst>
        </a:prstGeom>
        <a:solidFill>
          <a:srgbClr val="D23C00"/>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br>
            <a:rPr lang="pl-PL" sz="2400" kern="1200" dirty="0"/>
          </a:br>
          <a:r>
            <a:rPr lang="en-US" sz="2400" b="1" kern="1200" dirty="0">
              <a:solidFill>
                <a:schemeClr val="bg1"/>
              </a:solidFill>
            </a:rPr>
            <a:t>UI</a:t>
          </a:r>
        </a:p>
      </dsp:txBody>
      <dsp:txXfrm>
        <a:off x="1098655" y="0"/>
        <a:ext cx="1143588" cy="1533508"/>
      </dsp:txXfrm>
    </dsp:sp>
    <dsp:sp modelId="{3DF1A04F-9824-4FA2-8E9B-69197A34DB02}">
      <dsp:nvSpPr>
        <dsp:cNvPr id="0" name=""/>
        <dsp:cNvSpPr/>
      </dsp:nvSpPr>
      <dsp:spPr>
        <a:xfrm>
          <a:off x="563564" y="1541487"/>
          <a:ext cx="2225613" cy="1450953"/>
        </a:xfrm>
        <a:prstGeom prst="trapezoid">
          <a:avLst>
            <a:gd name="adj" fmla="val 37287"/>
          </a:avLst>
        </a:prstGeom>
        <a:solidFill>
          <a:schemeClr val="accent3"/>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bg1"/>
              </a:solidFill>
            </a:rPr>
            <a:t>API</a:t>
          </a:r>
        </a:p>
      </dsp:txBody>
      <dsp:txXfrm>
        <a:off x="953046" y="1541487"/>
        <a:ext cx="1446648" cy="1450953"/>
      </dsp:txXfrm>
    </dsp:sp>
    <dsp:sp modelId="{D9074314-C21A-447C-9E4D-59C6F495C412}">
      <dsp:nvSpPr>
        <dsp:cNvPr id="0" name=""/>
        <dsp:cNvSpPr/>
      </dsp:nvSpPr>
      <dsp:spPr>
        <a:xfrm>
          <a:off x="0" y="2984461"/>
          <a:ext cx="3329416" cy="1480158"/>
        </a:xfrm>
        <a:prstGeom prst="trapezoid">
          <a:avLst>
            <a:gd name="adj" fmla="val 37287"/>
          </a:avLst>
        </a:prstGeom>
        <a:solidFill>
          <a:schemeClr val="accent1"/>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pl-PL" sz="2400" b="1" kern="1200" dirty="0">
              <a:solidFill>
                <a:schemeClr val="bg1"/>
              </a:solidFill>
            </a:rPr>
            <a:t>BACKEND</a:t>
          </a:r>
          <a:endParaRPr lang="en-US" sz="2400" b="1" kern="1200" dirty="0">
            <a:solidFill>
              <a:schemeClr val="bg1"/>
            </a:solidFill>
          </a:endParaRPr>
        </a:p>
      </dsp:txBody>
      <dsp:txXfrm>
        <a:off x="582647" y="2984461"/>
        <a:ext cx="2164121" cy="148015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03AF60-5464-4E48-899B-D31FA0656C33}">
      <dsp:nvSpPr>
        <dsp:cNvPr id="0" name=""/>
        <dsp:cNvSpPr/>
      </dsp:nvSpPr>
      <dsp:spPr>
        <a:xfrm>
          <a:off x="0" y="877416"/>
          <a:ext cx="2061492" cy="1236895"/>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noProof="0" dirty="0"/>
            <a:t>#1</a:t>
          </a:r>
          <a:br>
            <a:rPr lang="en-US" sz="1900" kern="1200" noProof="0" dirty="0"/>
          </a:br>
          <a:r>
            <a:rPr lang="en-US" sz="1900" kern="1200" noProof="0" dirty="0"/>
            <a:t>Download</a:t>
          </a:r>
        </a:p>
      </dsp:txBody>
      <dsp:txXfrm>
        <a:off x="36227" y="913643"/>
        <a:ext cx="1989038" cy="1164441"/>
      </dsp:txXfrm>
    </dsp:sp>
    <dsp:sp modelId="{49FE3B05-AF4E-4678-881E-9EA50954566C}">
      <dsp:nvSpPr>
        <dsp:cNvPr id="0" name=""/>
        <dsp:cNvSpPr/>
      </dsp:nvSpPr>
      <dsp:spPr>
        <a:xfrm>
          <a:off x="2267641" y="1240239"/>
          <a:ext cx="437035" cy="511250"/>
        </a:xfrm>
        <a:prstGeom prst="rightArrow">
          <a:avLst>
            <a:gd name="adj1" fmla="val 60000"/>
            <a:gd name="adj2" fmla="val 50000"/>
          </a:avLst>
        </a:prstGeom>
        <a:gradFill rotWithShape="0">
          <a:gsLst>
            <a:gs pos="0">
              <a:schemeClr val="dk2">
                <a:tint val="60000"/>
                <a:hueOff val="0"/>
                <a:satOff val="0"/>
                <a:lumOff val="0"/>
                <a:alphaOff val="0"/>
                <a:satMod val="103000"/>
                <a:lumMod val="102000"/>
                <a:tint val="94000"/>
              </a:schemeClr>
            </a:gs>
            <a:gs pos="50000">
              <a:schemeClr val="dk2">
                <a:tint val="60000"/>
                <a:hueOff val="0"/>
                <a:satOff val="0"/>
                <a:lumOff val="0"/>
                <a:alphaOff val="0"/>
                <a:satMod val="110000"/>
                <a:lumMod val="100000"/>
                <a:shade val="100000"/>
              </a:schemeClr>
            </a:gs>
            <a:gs pos="100000">
              <a:schemeClr val="dk2">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dirty="0"/>
        </a:p>
      </dsp:txBody>
      <dsp:txXfrm>
        <a:off x="2267641" y="1342489"/>
        <a:ext cx="305925" cy="306750"/>
      </dsp:txXfrm>
    </dsp:sp>
    <dsp:sp modelId="{649B34E5-4863-4D0F-BCD4-55A5287FDAF5}">
      <dsp:nvSpPr>
        <dsp:cNvPr id="0" name=""/>
        <dsp:cNvSpPr/>
      </dsp:nvSpPr>
      <dsp:spPr>
        <a:xfrm>
          <a:off x="2886088" y="877416"/>
          <a:ext cx="2061492" cy="1236895"/>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noProof="0" dirty="0"/>
            <a:t>#2</a:t>
          </a:r>
          <a:br>
            <a:rPr lang="en-US" sz="1900" kern="1200" noProof="0" dirty="0"/>
          </a:br>
          <a:r>
            <a:rPr lang="en-US" sz="1900" kern="1200" noProof="0" dirty="0"/>
            <a:t>Start</a:t>
          </a:r>
        </a:p>
      </dsp:txBody>
      <dsp:txXfrm>
        <a:off x="2922315" y="913643"/>
        <a:ext cx="1989038" cy="1164441"/>
      </dsp:txXfrm>
    </dsp:sp>
    <dsp:sp modelId="{B4443672-828A-4A48-93F9-03A657ECA254}">
      <dsp:nvSpPr>
        <dsp:cNvPr id="0" name=""/>
        <dsp:cNvSpPr/>
      </dsp:nvSpPr>
      <dsp:spPr>
        <a:xfrm>
          <a:off x="5153730" y="1240239"/>
          <a:ext cx="437036" cy="511250"/>
        </a:xfrm>
        <a:prstGeom prst="rightArrow">
          <a:avLst>
            <a:gd name="adj1" fmla="val 60000"/>
            <a:gd name="adj2" fmla="val 50000"/>
          </a:avLst>
        </a:prstGeom>
        <a:gradFill rotWithShape="0">
          <a:gsLst>
            <a:gs pos="0">
              <a:schemeClr val="dk2">
                <a:tint val="60000"/>
                <a:hueOff val="0"/>
                <a:satOff val="0"/>
                <a:lumOff val="0"/>
                <a:alphaOff val="0"/>
                <a:satMod val="103000"/>
                <a:lumMod val="102000"/>
                <a:tint val="94000"/>
              </a:schemeClr>
            </a:gs>
            <a:gs pos="50000">
              <a:schemeClr val="dk2">
                <a:tint val="60000"/>
                <a:hueOff val="0"/>
                <a:satOff val="0"/>
                <a:lumOff val="0"/>
                <a:alphaOff val="0"/>
                <a:satMod val="110000"/>
                <a:lumMod val="100000"/>
                <a:shade val="100000"/>
              </a:schemeClr>
            </a:gs>
            <a:gs pos="100000">
              <a:schemeClr val="dk2">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dirty="0"/>
        </a:p>
      </dsp:txBody>
      <dsp:txXfrm>
        <a:off x="5153730" y="1342489"/>
        <a:ext cx="305925" cy="306750"/>
      </dsp:txXfrm>
    </dsp:sp>
    <dsp:sp modelId="{EDDD978F-65F0-456F-9889-3D6DD3E7E92B}">
      <dsp:nvSpPr>
        <dsp:cNvPr id="0" name=""/>
        <dsp:cNvSpPr/>
      </dsp:nvSpPr>
      <dsp:spPr>
        <a:xfrm>
          <a:off x="5772177" y="877416"/>
          <a:ext cx="2061492" cy="1236895"/>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noProof="0" dirty="0"/>
            <a:t>#3</a:t>
          </a:r>
          <a:br>
            <a:rPr lang="en-US" sz="1900" kern="1200" noProof="0" dirty="0"/>
          </a:br>
          <a:r>
            <a:rPr lang="en-US" sz="1900" kern="1200" noProof="0" dirty="0"/>
            <a:t> Run sample</a:t>
          </a:r>
        </a:p>
        <a:p>
          <a:pPr marL="0" lvl="0" indent="0" algn="ctr" defTabSz="844550">
            <a:lnSpc>
              <a:spcPct val="90000"/>
            </a:lnSpc>
            <a:spcBef>
              <a:spcPct val="0"/>
            </a:spcBef>
            <a:spcAft>
              <a:spcPct val="35000"/>
            </a:spcAft>
            <a:buNone/>
          </a:pPr>
          <a:r>
            <a:rPr lang="en-US" sz="1900" kern="1200" noProof="0" dirty="0"/>
            <a:t>test</a:t>
          </a:r>
        </a:p>
      </dsp:txBody>
      <dsp:txXfrm>
        <a:off x="5808404" y="913643"/>
        <a:ext cx="1989038" cy="1164441"/>
      </dsp:txXfrm>
    </dsp:sp>
    <dsp:sp modelId="{013569CA-863E-44BD-A32D-1143B0CB0D8E}">
      <dsp:nvSpPr>
        <dsp:cNvPr id="0" name=""/>
        <dsp:cNvSpPr/>
      </dsp:nvSpPr>
      <dsp:spPr>
        <a:xfrm>
          <a:off x="8039819" y="1240239"/>
          <a:ext cx="437036" cy="511250"/>
        </a:xfrm>
        <a:prstGeom prst="rightArrow">
          <a:avLst>
            <a:gd name="adj1" fmla="val 60000"/>
            <a:gd name="adj2" fmla="val 50000"/>
          </a:avLst>
        </a:prstGeom>
        <a:gradFill rotWithShape="0">
          <a:gsLst>
            <a:gs pos="0">
              <a:schemeClr val="dk2">
                <a:tint val="60000"/>
                <a:hueOff val="0"/>
                <a:satOff val="0"/>
                <a:lumOff val="0"/>
                <a:alphaOff val="0"/>
                <a:satMod val="103000"/>
                <a:lumMod val="102000"/>
                <a:tint val="94000"/>
              </a:schemeClr>
            </a:gs>
            <a:gs pos="50000">
              <a:schemeClr val="dk2">
                <a:tint val="60000"/>
                <a:hueOff val="0"/>
                <a:satOff val="0"/>
                <a:lumOff val="0"/>
                <a:alphaOff val="0"/>
                <a:satMod val="110000"/>
                <a:lumMod val="100000"/>
                <a:shade val="100000"/>
              </a:schemeClr>
            </a:gs>
            <a:gs pos="100000">
              <a:schemeClr val="dk2">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dirty="0"/>
        </a:p>
      </dsp:txBody>
      <dsp:txXfrm>
        <a:off x="8039819" y="1342489"/>
        <a:ext cx="305925" cy="306750"/>
      </dsp:txXfrm>
    </dsp:sp>
    <dsp:sp modelId="{B7130B30-4016-4BA9-8B28-D2CA4AF740B8}">
      <dsp:nvSpPr>
        <dsp:cNvPr id="0" name=""/>
        <dsp:cNvSpPr/>
      </dsp:nvSpPr>
      <dsp:spPr>
        <a:xfrm>
          <a:off x="8658267" y="877416"/>
          <a:ext cx="2061492" cy="1236895"/>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noProof="0" dirty="0"/>
            <a:t>#4</a:t>
          </a:r>
          <a:br>
            <a:rPr lang="en-US" sz="1900" kern="1200" noProof="0" dirty="0"/>
          </a:br>
          <a:r>
            <a:rPr lang="en-US" sz="1900" kern="1200" noProof="0" dirty="0"/>
            <a:t>Automate your own test case</a:t>
          </a:r>
        </a:p>
      </dsp:txBody>
      <dsp:txXfrm>
        <a:off x="8694494" y="913643"/>
        <a:ext cx="1989038" cy="116444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95D5EB-F758-47BB-8069-C61BF3900325}">
      <dsp:nvSpPr>
        <dsp:cNvPr id="0" name=""/>
        <dsp:cNvSpPr/>
      </dsp:nvSpPr>
      <dsp:spPr>
        <a:xfrm>
          <a:off x="0" y="348348"/>
          <a:ext cx="5819068" cy="63787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1624" tIns="312420" rIns="451624"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Enhancements over WebDriver</a:t>
          </a:r>
          <a:endParaRPr lang="de-DE" sz="1500" kern="1200" dirty="0"/>
        </a:p>
      </dsp:txBody>
      <dsp:txXfrm>
        <a:off x="0" y="348348"/>
        <a:ext cx="5819068" cy="637875"/>
      </dsp:txXfrm>
    </dsp:sp>
    <dsp:sp modelId="{541B9A17-3795-48DF-A206-D1E68BF33CA5}">
      <dsp:nvSpPr>
        <dsp:cNvPr id="0" name=""/>
        <dsp:cNvSpPr/>
      </dsp:nvSpPr>
      <dsp:spPr>
        <a:xfrm>
          <a:off x="290953" y="126948"/>
          <a:ext cx="4073348" cy="44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3963" tIns="0" rIns="153963" bIns="0" numCol="1" spcCol="1270" anchor="ctr" anchorCtr="0">
          <a:noAutofit/>
        </a:bodyPr>
        <a:lstStyle/>
        <a:p>
          <a:pPr marL="0" lvl="0" indent="0" algn="l" defTabSz="666750">
            <a:lnSpc>
              <a:spcPct val="90000"/>
            </a:lnSpc>
            <a:spcBef>
              <a:spcPct val="0"/>
            </a:spcBef>
            <a:spcAft>
              <a:spcPct val="35000"/>
            </a:spcAft>
            <a:buNone/>
          </a:pPr>
          <a:r>
            <a:rPr lang="en-US" sz="1500" kern="1200" dirty="0"/>
            <a:t>Selenium</a:t>
          </a:r>
          <a:endParaRPr lang="de-DE" sz="1500" kern="1200" dirty="0"/>
        </a:p>
      </dsp:txBody>
      <dsp:txXfrm>
        <a:off x="312569" y="148564"/>
        <a:ext cx="4030116" cy="399568"/>
      </dsp:txXfrm>
    </dsp:sp>
    <dsp:sp modelId="{E120634C-5162-4A23-9796-6DF6F2E89B5B}">
      <dsp:nvSpPr>
        <dsp:cNvPr id="0" name=""/>
        <dsp:cNvSpPr/>
      </dsp:nvSpPr>
      <dsp:spPr>
        <a:xfrm>
          <a:off x="0" y="1288623"/>
          <a:ext cx="5819068" cy="63787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1624" tIns="312420" rIns="451624"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Test Data separation</a:t>
          </a:r>
          <a:endParaRPr lang="de-DE" sz="1500" kern="1200" dirty="0"/>
        </a:p>
      </dsp:txBody>
      <dsp:txXfrm>
        <a:off x="0" y="1288623"/>
        <a:ext cx="5819068" cy="637875"/>
      </dsp:txXfrm>
    </dsp:sp>
    <dsp:sp modelId="{49712A10-B591-424F-B7CC-47C5812F2035}">
      <dsp:nvSpPr>
        <dsp:cNvPr id="0" name=""/>
        <dsp:cNvSpPr/>
      </dsp:nvSpPr>
      <dsp:spPr>
        <a:xfrm>
          <a:off x="290953" y="1067223"/>
          <a:ext cx="4073348" cy="44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3963" tIns="0" rIns="153963" bIns="0" numCol="1" spcCol="1270" anchor="ctr" anchorCtr="0">
          <a:noAutofit/>
        </a:bodyPr>
        <a:lstStyle/>
        <a:p>
          <a:pPr marL="0" lvl="0" indent="0" algn="l" defTabSz="666750">
            <a:lnSpc>
              <a:spcPct val="90000"/>
            </a:lnSpc>
            <a:spcBef>
              <a:spcPct val="0"/>
            </a:spcBef>
            <a:spcAft>
              <a:spcPct val="35000"/>
            </a:spcAft>
            <a:buNone/>
          </a:pPr>
          <a:r>
            <a:rPr lang="en-US" sz="1500" kern="1200" dirty="0"/>
            <a:t>Test Core</a:t>
          </a:r>
          <a:endParaRPr lang="de-DE" sz="1500" kern="1200" dirty="0"/>
        </a:p>
      </dsp:txBody>
      <dsp:txXfrm>
        <a:off x="312569" y="1088839"/>
        <a:ext cx="4030116" cy="399568"/>
      </dsp:txXfrm>
    </dsp:sp>
    <dsp:sp modelId="{D9216814-7482-48E5-95B3-298BCCE79379}">
      <dsp:nvSpPr>
        <dsp:cNvPr id="0" name=""/>
        <dsp:cNvSpPr/>
      </dsp:nvSpPr>
      <dsp:spPr>
        <a:xfrm>
          <a:off x="0" y="2228898"/>
          <a:ext cx="5819068" cy="87412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1624" tIns="312420" rIns="451624"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Rest GET action</a:t>
          </a:r>
          <a:endParaRPr lang="de-DE" sz="1500" kern="1200" dirty="0"/>
        </a:p>
        <a:p>
          <a:pPr marL="114300" lvl="1" indent="-114300" algn="l" defTabSz="666750">
            <a:lnSpc>
              <a:spcPct val="90000"/>
            </a:lnSpc>
            <a:spcBef>
              <a:spcPct val="0"/>
            </a:spcBef>
            <a:spcAft>
              <a:spcPct val="15000"/>
            </a:spcAft>
            <a:buChar char="•"/>
          </a:pPr>
          <a:r>
            <a:rPr lang="en-US" sz="1500" kern="1200" dirty="0"/>
            <a:t>Service Virtualization</a:t>
          </a:r>
          <a:endParaRPr lang="de-DE" sz="1500" kern="1200" dirty="0"/>
        </a:p>
      </dsp:txBody>
      <dsp:txXfrm>
        <a:off x="0" y="2228898"/>
        <a:ext cx="5819068" cy="874125"/>
      </dsp:txXfrm>
    </dsp:sp>
    <dsp:sp modelId="{E8D78545-12AA-436A-AA8A-70EEE4E540BA}">
      <dsp:nvSpPr>
        <dsp:cNvPr id="0" name=""/>
        <dsp:cNvSpPr/>
      </dsp:nvSpPr>
      <dsp:spPr>
        <a:xfrm>
          <a:off x="290953" y="2007498"/>
          <a:ext cx="4073348" cy="44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3963" tIns="0" rIns="153963" bIns="0" numCol="1" spcCol="1270" anchor="ctr" anchorCtr="0">
          <a:noAutofit/>
        </a:bodyPr>
        <a:lstStyle/>
        <a:p>
          <a:pPr marL="0" lvl="0" indent="0" algn="l" defTabSz="666750">
            <a:lnSpc>
              <a:spcPct val="90000"/>
            </a:lnSpc>
            <a:spcBef>
              <a:spcPct val="0"/>
            </a:spcBef>
            <a:spcAft>
              <a:spcPct val="35000"/>
            </a:spcAft>
            <a:buNone/>
          </a:pPr>
          <a:r>
            <a:rPr lang="en-US" sz="1500" kern="1200" dirty="0"/>
            <a:t>API service</a:t>
          </a:r>
          <a:endParaRPr lang="de-DE" sz="1500" kern="1200" dirty="0"/>
        </a:p>
      </dsp:txBody>
      <dsp:txXfrm>
        <a:off x="312569" y="2029114"/>
        <a:ext cx="4030116" cy="399568"/>
      </dsp:txXfrm>
    </dsp:sp>
    <dsp:sp modelId="{430FA645-8C3E-4879-8F42-C24BB3B1D593}">
      <dsp:nvSpPr>
        <dsp:cNvPr id="0" name=""/>
        <dsp:cNvSpPr/>
      </dsp:nvSpPr>
      <dsp:spPr>
        <a:xfrm>
          <a:off x="0" y="3405423"/>
          <a:ext cx="5819068" cy="63787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1624" tIns="312420" rIns="451624"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Out of the box setup</a:t>
          </a:r>
          <a:endParaRPr lang="de-DE" sz="1500" kern="1200" dirty="0"/>
        </a:p>
      </dsp:txBody>
      <dsp:txXfrm>
        <a:off x="0" y="3405423"/>
        <a:ext cx="5819068" cy="637875"/>
      </dsp:txXfrm>
    </dsp:sp>
    <dsp:sp modelId="{5AEC795A-6E59-4BF4-96A3-3EE3F6C1C771}">
      <dsp:nvSpPr>
        <dsp:cNvPr id="0" name=""/>
        <dsp:cNvSpPr/>
      </dsp:nvSpPr>
      <dsp:spPr>
        <a:xfrm>
          <a:off x="290953" y="3184023"/>
          <a:ext cx="4073348" cy="44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3963" tIns="0" rIns="153963" bIns="0" numCol="1" spcCol="1270" anchor="ctr" anchorCtr="0">
          <a:noAutofit/>
        </a:bodyPr>
        <a:lstStyle/>
        <a:p>
          <a:pPr marL="0" lvl="0" indent="0" algn="l" defTabSz="666750">
            <a:lnSpc>
              <a:spcPct val="90000"/>
            </a:lnSpc>
            <a:spcBef>
              <a:spcPct val="0"/>
            </a:spcBef>
            <a:spcAft>
              <a:spcPct val="35000"/>
            </a:spcAft>
            <a:buNone/>
          </a:pPr>
          <a:r>
            <a:rPr lang="en-US" sz="1500" kern="1200" dirty="0"/>
            <a:t>Continuous Integration</a:t>
          </a:r>
          <a:endParaRPr lang="de-DE" sz="1500" kern="1200" dirty="0"/>
        </a:p>
      </dsp:txBody>
      <dsp:txXfrm>
        <a:off x="312569" y="3205639"/>
        <a:ext cx="4030116" cy="39956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DEE40E-0B66-4B91-8AC9-45EB49F811C8}">
      <dsp:nvSpPr>
        <dsp:cNvPr id="0" name=""/>
        <dsp:cNvSpPr/>
      </dsp:nvSpPr>
      <dsp:spPr>
        <a:xfrm>
          <a:off x="-6193173" y="-947473"/>
          <a:ext cx="7372120" cy="7372120"/>
        </a:xfrm>
        <a:prstGeom prst="blockArc">
          <a:avLst>
            <a:gd name="adj1" fmla="val 18900000"/>
            <a:gd name="adj2" fmla="val 2700000"/>
            <a:gd name="adj3" fmla="val 293"/>
          </a:avLst>
        </a:pr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A2BAD60-1173-4F05-AA2D-A6CC7480963C}">
      <dsp:nvSpPr>
        <dsp:cNvPr id="0" name=""/>
        <dsp:cNvSpPr/>
      </dsp:nvSpPr>
      <dsp:spPr>
        <a:xfrm>
          <a:off x="438991" y="288427"/>
          <a:ext cx="10212693" cy="57663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705" tIns="76200" rIns="76200" bIns="76200" numCol="1" spcCol="1270" anchor="ctr" anchorCtr="0">
          <a:noAutofit/>
        </a:bodyPr>
        <a:lstStyle/>
        <a:p>
          <a:pPr marL="0" lvl="0" indent="0" algn="l" defTabSz="1333500" rtl="0">
            <a:lnSpc>
              <a:spcPct val="90000"/>
            </a:lnSpc>
            <a:spcBef>
              <a:spcPct val="0"/>
            </a:spcBef>
            <a:spcAft>
              <a:spcPct val="35000"/>
            </a:spcAft>
            <a:buNone/>
          </a:pPr>
          <a:r>
            <a:rPr lang="en-US" sz="3000" b="0" kern="1200" noProof="0" dirty="0"/>
            <a:t>Test report with logs and/or screenshots</a:t>
          </a:r>
          <a:endParaRPr lang="en-US" sz="3000" kern="1200" noProof="0" dirty="0"/>
        </a:p>
      </dsp:txBody>
      <dsp:txXfrm>
        <a:off x="438991" y="288427"/>
        <a:ext cx="10212693" cy="576636"/>
      </dsp:txXfrm>
    </dsp:sp>
    <dsp:sp modelId="{876AAFB9-EF87-4539-844B-B2D7225647F2}">
      <dsp:nvSpPr>
        <dsp:cNvPr id="0" name=""/>
        <dsp:cNvSpPr/>
      </dsp:nvSpPr>
      <dsp:spPr>
        <a:xfrm>
          <a:off x="78593" y="216348"/>
          <a:ext cx="720795" cy="720795"/>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8E83F1C-CC72-4F68-9ECB-BA7C8F4350EF}">
      <dsp:nvSpPr>
        <dsp:cNvPr id="0" name=""/>
        <dsp:cNvSpPr/>
      </dsp:nvSpPr>
      <dsp:spPr>
        <a:xfrm>
          <a:off x="913314" y="1153273"/>
          <a:ext cx="9738370" cy="576636"/>
        </a:xfrm>
        <a:prstGeom prst="rect">
          <a:avLst/>
        </a:prstGeom>
        <a:solidFill>
          <a:schemeClr val="accent2">
            <a:hueOff val="951895"/>
            <a:satOff val="-6841"/>
            <a:lumOff val="-611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705" tIns="76200" rIns="76200" bIns="76200" numCol="1" spcCol="1270" anchor="ctr" anchorCtr="0">
          <a:noAutofit/>
        </a:bodyPr>
        <a:lstStyle/>
        <a:p>
          <a:pPr marL="0" lvl="0" indent="0" algn="l" defTabSz="1333500" rtl="0">
            <a:lnSpc>
              <a:spcPct val="90000"/>
            </a:lnSpc>
            <a:spcBef>
              <a:spcPct val="0"/>
            </a:spcBef>
            <a:spcAft>
              <a:spcPct val="35000"/>
            </a:spcAft>
            <a:buNone/>
          </a:pPr>
          <a:r>
            <a:rPr lang="en-US" sz="3000" b="0" kern="1200" dirty="0"/>
            <a:t>Test groups/tags</a:t>
          </a:r>
          <a:endParaRPr lang="en-US" sz="3000" kern="1200" dirty="0"/>
        </a:p>
      </dsp:txBody>
      <dsp:txXfrm>
        <a:off x="913314" y="1153273"/>
        <a:ext cx="9738370" cy="576636"/>
      </dsp:txXfrm>
    </dsp:sp>
    <dsp:sp modelId="{2DD28F3F-8955-489D-889B-C6E41AE5FA1D}">
      <dsp:nvSpPr>
        <dsp:cNvPr id="0" name=""/>
        <dsp:cNvSpPr/>
      </dsp:nvSpPr>
      <dsp:spPr>
        <a:xfrm>
          <a:off x="552916" y="1081193"/>
          <a:ext cx="720795" cy="720795"/>
        </a:xfrm>
        <a:prstGeom prst="ellipse">
          <a:avLst/>
        </a:prstGeom>
        <a:solidFill>
          <a:schemeClr val="lt1">
            <a:hueOff val="0"/>
            <a:satOff val="0"/>
            <a:lumOff val="0"/>
            <a:alphaOff val="0"/>
          </a:schemeClr>
        </a:solidFill>
        <a:ln w="12700" cap="flat" cmpd="sng" algn="ctr">
          <a:solidFill>
            <a:schemeClr val="accent2">
              <a:hueOff val="951895"/>
              <a:satOff val="-6841"/>
              <a:lumOff val="-6117"/>
              <a:alphaOff val="0"/>
            </a:schemeClr>
          </a:solidFill>
          <a:prstDash val="solid"/>
          <a:miter lim="800000"/>
        </a:ln>
        <a:effectLst/>
      </dsp:spPr>
      <dsp:style>
        <a:lnRef idx="2">
          <a:scrgbClr r="0" g="0" b="0"/>
        </a:lnRef>
        <a:fillRef idx="1">
          <a:scrgbClr r="0" g="0" b="0"/>
        </a:fillRef>
        <a:effectRef idx="0">
          <a:scrgbClr r="0" g="0" b="0"/>
        </a:effectRef>
        <a:fontRef idx="minor"/>
      </dsp:style>
    </dsp:sp>
    <dsp:sp modelId="{E57A0B6C-4C65-44BC-B21C-AAF6F8AF38E8}">
      <dsp:nvSpPr>
        <dsp:cNvPr id="0" name=""/>
        <dsp:cNvSpPr/>
      </dsp:nvSpPr>
      <dsp:spPr>
        <a:xfrm>
          <a:off x="1130210" y="2018119"/>
          <a:ext cx="9521474" cy="576636"/>
        </a:xfrm>
        <a:prstGeom prst="rect">
          <a:avLst/>
        </a:prstGeom>
        <a:solidFill>
          <a:schemeClr val="accent2">
            <a:hueOff val="1903790"/>
            <a:satOff val="-13682"/>
            <a:lumOff val="-1223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705" tIns="76200" rIns="76200" bIns="76200" numCol="1" spcCol="1270" anchor="ctr" anchorCtr="0">
          <a:noAutofit/>
        </a:bodyPr>
        <a:lstStyle/>
        <a:p>
          <a:pPr marL="0" lvl="0" indent="0" algn="l" defTabSz="1333500" rtl="0">
            <a:lnSpc>
              <a:spcPct val="90000"/>
            </a:lnSpc>
            <a:spcBef>
              <a:spcPct val="0"/>
            </a:spcBef>
            <a:spcAft>
              <a:spcPct val="35000"/>
            </a:spcAft>
            <a:buNone/>
          </a:pPr>
          <a:r>
            <a:rPr lang="en-US" sz="3000" b="0" kern="1200" dirty="0"/>
            <a:t>Data Driven (inside test case, external file) </a:t>
          </a:r>
          <a:endParaRPr lang="en-US" sz="3000" kern="1200" dirty="0"/>
        </a:p>
      </dsp:txBody>
      <dsp:txXfrm>
        <a:off x="1130210" y="2018119"/>
        <a:ext cx="9521474" cy="576636"/>
      </dsp:txXfrm>
    </dsp:sp>
    <dsp:sp modelId="{5FBA14F6-BA1D-4D16-83B0-270970CAB886}">
      <dsp:nvSpPr>
        <dsp:cNvPr id="0" name=""/>
        <dsp:cNvSpPr/>
      </dsp:nvSpPr>
      <dsp:spPr>
        <a:xfrm>
          <a:off x="769812" y="1946039"/>
          <a:ext cx="720795" cy="720795"/>
        </a:xfrm>
        <a:prstGeom prst="ellipse">
          <a:avLst/>
        </a:prstGeom>
        <a:solidFill>
          <a:schemeClr val="lt1">
            <a:hueOff val="0"/>
            <a:satOff val="0"/>
            <a:lumOff val="0"/>
            <a:alphaOff val="0"/>
          </a:schemeClr>
        </a:solidFill>
        <a:ln w="12700" cap="flat" cmpd="sng" algn="ctr">
          <a:solidFill>
            <a:schemeClr val="accent2">
              <a:hueOff val="1903790"/>
              <a:satOff val="-13682"/>
              <a:lumOff val="-12234"/>
              <a:alphaOff val="0"/>
            </a:schemeClr>
          </a:solidFill>
          <a:prstDash val="solid"/>
          <a:miter lim="800000"/>
        </a:ln>
        <a:effectLst/>
      </dsp:spPr>
      <dsp:style>
        <a:lnRef idx="2">
          <a:scrgbClr r="0" g="0" b="0"/>
        </a:lnRef>
        <a:fillRef idx="1">
          <a:scrgbClr r="0" g="0" b="0"/>
        </a:fillRef>
        <a:effectRef idx="0">
          <a:scrgbClr r="0" g="0" b="0"/>
        </a:effectRef>
        <a:fontRef idx="minor"/>
      </dsp:style>
    </dsp:sp>
    <dsp:sp modelId="{D711A2C5-F86A-43E0-9FAE-3A67569BA5B0}">
      <dsp:nvSpPr>
        <dsp:cNvPr id="0" name=""/>
        <dsp:cNvSpPr/>
      </dsp:nvSpPr>
      <dsp:spPr>
        <a:xfrm>
          <a:off x="1131353" y="2882417"/>
          <a:ext cx="9521474" cy="576636"/>
        </a:xfrm>
        <a:prstGeom prst="rect">
          <a:avLst/>
        </a:prstGeom>
        <a:solidFill>
          <a:schemeClr val="accent2">
            <a:hueOff val="2855686"/>
            <a:satOff val="-20524"/>
            <a:lumOff val="-183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705" tIns="76200" rIns="76200" bIns="76200" numCol="1" spcCol="1270" anchor="ctr" anchorCtr="0">
          <a:noAutofit/>
        </a:bodyPr>
        <a:lstStyle/>
        <a:p>
          <a:pPr marL="0" lvl="0" indent="0" algn="l" defTabSz="1333500" rtl="0">
            <a:lnSpc>
              <a:spcPct val="90000"/>
            </a:lnSpc>
            <a:spcBef>
              <a:spcPct val="0"/>
            </a:spcBef>
            <a:spcAft>
              <a:spcPct val="35000"/>
            </a:spcAft>
            <a:buNone/>
          </a:pPr>
          <a:r>
            <a:rPr lang="en-US" sz="3000" b="0" kern="1200" dirty="0"/>
            <a:t>Test case parallel execution</a:t>
          </a:r>
          <a:endParaRPr lang="en-US" sz="3000" kern="1200" dirty="0"/>
        </a:p>
      </dsp:txBody>
      <dsp:txXfrm>
        <a:off x="1131353" y="2882417"/>
        <a:ext cx="9521474" cy="576636"/>
      </dsp:txXfrm>
    </dsp:sp>
    <dsp:sp modelId="{59FBA889-EC7D-49F7-81C3-DD02DF163D89}">
      <dsp:nvSpPr>
        <dsp:cNvPr id="0" name=""/>
        <dsp:cNvSpPr/>
      </dsp:nvSpPr>
      <dsp:spPr>
        <a:xfrm>
          <a:off x="769812" y="2810337"/>
          <a:ext cx="720795" cy="720795"/>
        </a:xfrm>
        <a:prstGeom prst="ellipse">
          <a:avLst/>
        </a:prstGeom>
        <a:solidFill>
          <a:schemeClr val="lt1">
            <a:hueOff val="0"/>
            <a:satOff val="0"/>
            <a:lumOff val="0"/>
            <a:alphaOff val="0"/>
          </a:schemeClr>
        </a:solidFill>
        <a:ln w="12700" cap="flat" cmpd="sng" algn="ctr">
          <a:solidFill>
            <a:schemeClr val="accent2">
              <a:hueOff val="2855686"/>
              <a:satOff val="-20524"/>
              <a:lumOff val="-18352"/>
              <a:alphaOff val="0"/>
            </a:schemeClr>
          </a:solidFill>
          <a:prstDash val="solid"/>
          <a:miter lim="800000"/>
        </a:ln>
        <a:effectLst/>
      </dsp:spPr>
      <dsp:style>
        <a:lnRef idx="2">
          <a:scrgbClr r="0" g="0" b="0"/>
        </a:lnRef>
        <a:fillRef idx="1">
          <a:scrgbClr r="0" g="0" b="0"/>
        </a:fillRef>
        <a:effectRef idx="0">
          <a:scrgbClr r="0" g="0" b="0"/>
        </a:effectRef>
        <a:fontRef idx="minor"/>
      </dsp:style>
    </dsp:sp>
    <dsp:sp modelId="{0003C806-5C47-4A25-82B8-8D467F6695F1}">
      <dsp:nvSpPr>
        <dsp:cNvPr id="0" name=""/>
        <dsp:cNvSpPr/>
      </dsp:nvSpPr>
      <dsp:spPr>
        <a:xfrm>
          <a:off x="913314" y="3747262"/>
          <a:ext cx="9738370" cy="576636"/>
        </a:xfrm>
        <a:prstGeom prst="rect">
          <a:avLst/>
        </a:prstGeom>
        <a:solidFill>
          <a:schemeClr val="accent2">
            <a:hueOff val="3807581"/>
            <a:satOff val="-27365"/>
            <a:lumOff val="-2446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705" tIns="76200" rIns="76200" bIns="76200" numCol="1" spcCol="1270" anchor="ctr" anchorCtr="0">
          <a:noAutofit/>
        </a:bodyPr>
        <a:lstStyle/>
        <a:p>
          <a:pPr marL="0" lvl="0" indent="0" algn="l" defTabSz="1333500" rtl="0">
            <a:lnSpc>
              <a:spcPct val="90000"/>
            </a:lnSpc>
            <a:spcBef>
              <a:spcPct val="0"/>
            </a:spcBef>
            <a:spcAft>
              <a:spcPct val="35000"/>
            </a:spcAft>
            <a:buNone/>
          </a:pPr>
          <a:r>
            <a:rPr lang="en-US" sz="3000" b="0" kern="1200" dirty="0"/>
            <a:t>Run on independent Operating</a:t>
          </a:r>
          <a:r>
            <a:rPr lang="pl-PL" sz="3000" b="0" kern="1200" dirty="0"/>
            <a:t> </a:t>
          </a:r>
          <a:r>
            <a:rPr lang="en-US" sz="3000" b="0" kern="1200" dirty="0"/>
            <a:t>System</a:t>
          </a:r>
          <a:endParaRPr lang="en-US" sz="3000" kern="1200" dirty="0"/>
        </a:p>
      </dsp:txBody>
      <dsp:txXfrm>
        <a:off x="913314" y="3747262"/>
        <a:ext cx="9738370" cy="576636"/>
      </dsp:txXfrm>
    </dsp:sp>
    <dsp:sp modelId="{A648D221-FF1E-41B1-982F-C0EFE4A686E7}">
      <dsp:nvSpPr>
        <dsp:cNvPr id="0" name=""/>
        <dsp:cNvSpPr/>
      </dsp:nvSpPr>
      <dsp:spPr>
        <a:xfrm>
          <a:off x="552916" y="3675183"/>
          <a:ext cx="720795" cy="720795"/>
        </a:xfrm>
        <a:prstGeom prst="ellipse">
          <a:avLst/>
        </a:prstGeom>
        <a:solidFill>
          <a:schemeClr val="lt1">
            <a:hueOff val="0"/>
            <a:satOff val="0"/>
            <a:lumOff val="0"/>
            <a:alphaOff val="0"/>
          </a:schemeClr>
        </a:solidFill>
        <a:ln w="12700" cap="flat" cmpd="sng" algn="ctr">
          <a:solidFill>
            <a:schemeClr val="accent2">
              <a:hueOff val="3807581"/>
              <a:satOff val="-27365"/>
              <a:lumOff val="-24469"/>
              <a:alphaOff val="0"/>
            </a:schemeClr>
          </a:solidFill>
          <a:prstDash val="solid"/>
          <a:miter lim="800000"/>
        </a:ln>
        <a:effectLst/>
      </dsp:spPr>
      <dsp:style>
        <a:lnRef idx="2">
          <a:scrgbClr r="0" g="0" b="0"/>
        </a:lnRef>
        <a:fillRef idx="1">
          <a:scrgbClr r="0" g="0" b="0"/>
        </a:fillRef>
        <a:effectRef idx="0">
          <a:scrgbClr r="0" g="0" b="0"/>
        </a:effectRef>
        <a:fontRef idx="minor"/>
      </dsp:style>
    </dsp:sp>
    <dsp:sp modelId="{2606BF64-8FDA-4A3B-85AD-A61D5DBB6D5E}">
      <dsp:nvSpPr>
        <dsp:cNvPr id="0" name=""/>
        <dsp:cNvSpPr/>
      </dsp:nvSpPr>
      <dsp:spPr>
        <a:xfrm>
          <a:off x="438991" y="4612108"/>
          <a:ext cx="10212693" cy="576636"/>
        </a:xfrm>
        <a:prstGeom prst="rect">
          <a:avLst/>
        </a:prstGeom>
        <a:solidFill>
          <a:schemeClr val="accent2">
            <a:hueOff val="4759476"/>
            <a:satOff val="-34206"/>
            <a:lumOff val="-3058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705" tIns="76200" rIns="76200" bIns="76200" numCol="1" spcCol="1270" anchor="ctr" anchorCtr="0">
          <a:noAutofit/>
        </a:bodyPr>
        <a:lstStyle/>
        <a:p>
          <a:pPr marL="0" lvl="0" indent="0" algn="l" defTabSz="1333500" rtl="0">
            <a:lnSpc>
              <a:spcPct val="90000"/>
            </a:lnSpc>
            <a:spcBef>
              <a:spcPct val="0"/>
            </a:spcBef>
            <a:spcAft>
              <a:spcPct val="35000"/>
            </a:spcAft>
            <a:buNone/>
          </a:pPr>
          <a:r>
            <a:rPr lang="en-US" sz="3000" b="0" kern="1200" noProof="0" dirty="0"/>
            <a:t>Externalize</a:t>
          </a:r>
          <a:r>
            <a:rPr lang="en-US" sz="3000" b="0" kern="1200" dirty="0"/>
            <a:t> test environment (DEV, QA, PROD)</a:t>
          </a:r>
          <a:endParaRPr lang="en-US" sz="3000" kern="1200" dirty="0"/>
        </a:p>
      </dsp:txBody>
      <dsp:txXfrm>
        <a:off x="438991" y="4612108"/>
        <a:ext cx="10212693" cy="576636"/>
      </dsp:txXfrm>
    </dsp:sp>
    <dsp:sp modelId="{F7C9F1C0-885E-414E-AA3A-26FA93C53DA2}">
      <dsp:nvSpPr>
        <dsp:cNvPr id="0" name=""/>
        <dsp:cNvSpPr/>
      </dsp:nvSpPr>
      <dsp:spPr>
        <a:xfrm>
          <a:off x="78593" y="4540028"/>
          <a:ext cx="720795" cy="720795"/>
        </a:xfrm>
        <a:prstGeom prst="ellipse">
          <a:avLst/>
        </a:prstGeom>
        <a:solidFill>
          <a:schemeClr val="lt1">
            <a:hueOff val="0"/>
            <a:satOff val="0"/>
            <a:lumOff val="0"/>
            <a:alphaOff val="0"/>
          </a:schemeClr>
        </a:solidFill>
        <a:ln w="12700" cap="flat" cmpd="sng" algn="ctr">
          <a:solidFill>
            <a:schemeClr val="accent2">
              <a:hueOff val="4759476"/>
              <a:satOff val="-34206"/>
              <a:lumOff val="-30586"/>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70D048-E6A8-4024-8257-88AD5644F7E5}">
      <dsp:nvSpPr>
        <dsp:cNvPr id="0" name=""/>
        <dsp:cNvSpPr/>
      </dsp:nvSpPr>
      <dsp:spPr>
        <a:xfrm>
          <a:off x="5073" y="1137"/>
          <a:ext cx="4093805" cy="1589801"/>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0020" tIns="160020" rIns="160020" bIns="160020" numCol="1" spcCol="1270" anchor="ctr" anchorCtr="0">
          <a:noAutofit/>
        </a:bodyPr>
        <a:lstStyle/>
        <a:p>
          <a:pPr marL="0" lvl="0" indent="0" algn="ctr" defTabSz="1866900" rtl="0">
            <a:lnSpc>
              <a:spcPct val="90000"/>
            </a:lnSpc>
            <a:spcBef>
              <a:spcPct val="0"/>
            </a:spcBef>
            <a:spcAft>
              <a:spcPct val="35000"/>
            </a:spcAft>
            <a:buNone/>
          </a:pPr>
          <a:r>
            <a:rPr lang="de-DE" sz="4200" kern="1200" noProof="0" dirty="0"/>
            <a:t>QA Team </a:t>
          </a:r>
          <a:r>
            <a:rPr lang="en-US" sz="4200" kern="1200" noProof="0" dirty="0"/>
            <a:t>responsibility</a:t>
          </a:r>
        </a:p>
      </dsp:txBody>
      <dsp:txXfrm>
        <a:off x="51637" y="47701"/>
        <a:ext cx="4000677" cy="1496673"/>
      </dsp:txXfrm>
    </dsp:sp>
    <dsp:sp modelId="{A3721169-34B6-414F-A091-67C95AADAEB5}">
      <dsp:nvSpPr>
        <dsp:cNvPr id="0" name=""/>
        <dsp:cNvSpPr/>
      </dsp:nvSpPr>
      <dsp:spPr>
        <a:xfrm>
          <a:off x="5073" y="1865444"/>
          <a:ext cx="1964397" cy="1589801"/>
        </a:xfrm>
        <a:prstGeom prst="roundRect">
          <a:avLst>
            <a:gd name="adj" fmla="val 1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rtl="0">
            <a:lnSpc>
              <a:spcPct val="90000"/>
            </a:lnSpc>
            <a:spcBef>
              <a:spcPct val="0"/>
            </a:spcBef>
            <a:spcAft>
              <a:spcPct val="35000"/>
            </a:spcAft>
            <a:buNone/>
          </a:pPr>
          <a:r>
            <a:rPr lang="en-US" sz="1900" b="0" kern="1200" noProof="0" dirty="0"/>
            <a:t>Jenkins as build and test executor</a:t>
          </a:r>
          <a:endParaRPr lang="en-US" sz="1900" kern="1200" noProof="0" dirty="0"/>
        </a:p>
      </dsp:txBody>
      <dsp:txXfrm>
        <a:off x="51637" y="1912008"/>
        <a:ext cx="1871269" cy="1496673"/>
      </dsp:txXfrm>
    </dsp:sp>
    <dsp:sp modelId="{1000C26E-3D71-48FA-A3ED-83BF4ED6EAB3}">
      <dsp:nvSpPr>
        <dsp:cNvPr id="0" name=""/>
        <dsp:cNvSpPr/>
      </dsp:nvSpPr>
      <dsp:spPr>
        <a:xfrm>
          <a:off x="2134480" y="1865444"/>
          <a:ext cx="1964397" cy="1589801"/>
        </a:xfrm>
        <a:prstGeom prst="roundRect">
          <a:avLst>
            <a:gd name="adj" fmla="val 1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rtl="0">
            <a:lnSpc>
              <a:spcPct val="90000"/>
            </a:lnSpc>
            <a:spcBef>
              <a:spcPct val="0"/>
            </a:spcBef>
            <a:spcAft>
              <a:spcPct val="35000"/>
            </a:spcAft>
            <a:buNone/>
          </a:pPr>
          <a:r>
            <a:rPr lang="en-US" sz="1900" b="0" kern="1200" noProof="0" dirty="0"/>
            <a:t>Cost efficient solution</a:t>
          </a:r>
          <a:endParaRPr lang="en-US" sz="1900" kern="1200" noProof="0" dirty="0"/>
        </a:p>
      </dsp:txBody>
      <dsp:txXfrm>
        <a:off x="2181044" y="1912008"/>
        <a:ext cx="1871269" cy="1496673"/>
      </dsp:txXfrm>
    </dsp:sp>
    <dsp:sp modelId="{D4A515B5-6E31-4F81-ACBF-6E78901E9E69}">
      <dsp:nvSpPr>
        <dsp:cNvPr id="0" name=""/>
        <dsp:cNvSpPr/>
      </dsp:nvSpPr>
      <dsp:spPr>
        <a:xfrm>
          <a:off x="4428897" y="1137"/>
          <a:ext cx="6223212" cy="1589801"/>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0020" tIns="160020" rIns="160020" bIns="160020" numCol="1" spcCol="1270" anchor="ctr" anchorCtr="0">
          <a:noAutofit/>
        </a:bodyPr>
        <a:lstStyle/>
        <a:p>
          <a:pPr marL="0" lvl="0" indent="0" algn="ctr" defTabSz="1866900" rtl="0">
            <a:lnSpc>
              <a:spcPct val="90000"/>
            </a:lnSpc>
            <a:spcBef>
              <a:spcPct val="0"/>
            </a:spcBef>
            <a:spcAft>
              <a:spcPct val="35000"/>
            </a:spcAft>
            <a:buNone/>
          </a:pPr>
          <a:r>
            <a:rPr lang="en-US" sz="4200" kern="1200" noProof="0" dirty="0"/>
            <a:t>Out of the box settings</a:t>
          </a:r>
        </a:p>
      </dsp:txBody>
      <dsp:txXfrm>
        <a:off x="4475461" y="47701"/>
        <a:ext cx="6130084" cy="1496673"/>
      </dsp:txXfrm>
    </dsp:sp>
    <dsp:sp modelId="{A89CB4BD-9715-405E-A715-C6F6B7E65A8F}">
      <dsp:nvSpPr>
        <dsp:cNvPr id="0" name=""/>
        <dsp:cNvSpPr/>
      </dsp:nvSpPr>
      <dsp:spPr>
        <a:xfrm>
          <a:off x="4428897" y="1865444"/>
          <a:ext cx="1964397" cy="1589801"/>
        </a:xfrm>
        <a:prstGeom prst="roundRect">
          <a:avLst>
            <a:gd name="adj" fmla="val 1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rtl="0">
            <a:lnSpc>
              <a:spcPct val="90000"/>
            </a:lnSpc>
            <a:spcBef>
              <a:spcPct val="0"/>
            </a:spcBef>
            <a:spcAft>
              <a:spcPct val="35000"/>
            </a:spcAft>
            <a:buNone/>
          </a:pPr>
          <a:r>
            <a:rPr lang="en-US" sz="1900" kern="1200" noProof="0" dirty="0"/>
            <a:t>Example Jenkins jobs</a:t>
          </a:r>
        </a:p>
      </dsp:txBody>
      <dsp:txXfrm>
        <a:off x="4475461" y="1912008"/>
        <a:ext cx="1871269" cy="1496673"/>
      </dsp:txXfrm>
    </dsp:sp>
    <dsp:sp modelId="{26D7C547-8DBD-4CF9-B34F-AC145FC99221}">
      <dsp:nvSpPr>
        <dsp:cNvPr id="0" name=""/>
        <dsp:cNvSpPr/>
      </dsp:nvSpPr>
      <dsp:spPr>
        <a:xfrm>
          <a:off x="6558305" y="1865444"/>
          <a:ext cx="1964397" cy="1589801"/>
        </a:xfrm>
        <a:prstGeom prst="roundRect">
          <a:avLst>
            <a:gd name="adj" fmla="val 1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rtl="0">
            <a:lnSpc>
              <a:spcPct val="90000"/>
            </a:lnSpc>
            <a:spcBef>
              <a:spcPct val="0"/>
            </a:spcBef>
            <a:spcAft>
              <a:spcPct val="35000"/>
            </a:spcAft>
            <a:buNone/>
          </a:pPr>
          <a:r>
            <a:rPr lang="en-US" sz="1900" kern="1200" noProof="0" dirty="0"/>
            <a:t>Jobs created with „Pipeline as a code” mind set</a:t>
          </a:r>
        </a:p>
      </dsp:txBody>
      <dsp:txXfrm>
        <a:off x="6604869" y="1912008"/>
        <a:ext cx="1871269" cy="1496673"/>
      </dsp:txXfrm>
    </dsp:sp>
    <dsp:sp modelId="{F4DD5167-92EC-4D44-B738-644AF19B405C}">
      <dsp:nvSpPr>
        <dsp:cNvPr id="0" name=""/>
        <dsp:cNvSpPr/>
      </dsp:nvSpPr>
      <dsp:spPr>
        <a:xfrm>
          <a:off x="8687712" y="1865444"/>
          <a:ext cx="1964397" cy="1589801"/>
        </a:xfrm>
        <a:prstGeom prst="roundRect">
          <a:avLst>
            <a:gd name="adj" fmla="val 1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rtl="0">
            <a:lnSpc>
              <a:spcPct val="90000"/>
            </a:lnSpc>
            <a:spcBef>
              <a:spcPct val="0"/>
            </a:spcBef>
            <a:spcAft>
              <a:spcPct val="35000"/>
            </a:spcAft>
            <a:buNone/>
          </a:pPr>
          <a:r>
            <a:rPr lang="en-US" sz="1900" kern="1200" noProof="0" dirty="0"/>
            <a:t>Build dependencies as containers</a:t>
          </a:r>
        </a:p>
      </dsp:txBody>
      <dsp:txXfrm>
        <a:off x="8734276" y="1912008"/>
        <a:ext cx="1871269" cy="1496673"/>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2EF0EB-B252-4BC3-A06F-72AA30BF178E}">
      <dsp:nvSpPr>
        <dsp:cNvPr id="0" name=""/>
        <dsp:cNvSpPr/>
      </dsp:nvSpPr>
      <dsp:spPr>
        <a:xfrm rot="5400000">
          <a:off x="2649680" y="538231"/>
          <a:ext cx="1740234" cy="1514003"/>
        </a:xfrm>
        <a:prstGeom prst="hexagon">
          <a:avLst>
            <a:gd name="adj" fmla="val 25000"/>
            <a:gd name="vf" fmla="val 115470"/>
          </a:avLst>
        </a:prstGeom>
        <a:solidFill>
          <a:schemeClr val="accent1"/>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noProof="0" dirty="0"/>
            <a:t> switch ON quality</a:t>
          </a:r>
        </a:p>
      </dsp:txBody>
      <dsp:txXfrm rot="-5400000">
        <a:off x="2998727" y="696302"/>
        <a:ext cx="1042139" cy="1197862"/>
      </dsp:txXfrm>
    </dsp:sp>
    <dsp:sp modelId="{2C84F8A6-9F54-4DED-BEC7-410A64D8472B}">
      <dsp:nvSpPr>
        <dsp:cNvPr id="0" name=""/>
        <dsp:cNvSpPr/>
      </dsp:nvSpPr>
      <dsp:spPr>
        <a:xfrm>
          <a:off x="4322742" y="773162"/>
          <a:ext cx="1942101" cy="1044140"/>
        </a:xfrm>
        <a:prstGeom prst="rect">
          <a:avLst/>
        </a:prstGeom>
        <a:noFill/>
        <a:ln>
          <a:noFill/>
        </a:ln>
        <a:effectLst/>
      </dsp:spPr>
      <dsp:style>
        <a:lnRef idx="0">
          <a:scrgbClr r="0" g="0" b="0"/>
        </a:lnRef>
        <a:fillRef idx="0">
          <a:scrgbClr r="0" g="0" b="0"/>
        </a:fillRef>
        <a:effectRef idx="0">
          <a:scrgbClr r="0" g="0" b="0"/>
        </a:effectRef>
        <a:fontRef idx="minor"/>
      </dsp:style>
    </dsp:sp>
    <dsp:sp modelId="{AF9D1B28-55D2-4661-9B48-D46DD7C6F172}">
      <dsp:nvSpPr>
        <dsp:cNvPr id="0" name=""/>
        <dsp:cNvSpPr/>
      </dsp:nvSpPr>
      <dsp:spPr>
        <a:xfrm rot="5400000">
          <a:off x="1014556" y="538231"/>
          <a:ext cx="1740234" cy="1514003"/>
        </a:xfrm>
        <a:prstGeom prst="hexagon">
          <a:avLst>
            <a:gd name="adj" fmla="val 25000"/>
            <a:gd name="vf" fmla="val 115470"/>
          </a:avLst>
        </a:prstGeom>
        <a:solidFill>
          <a:srgbClr val="002060"/>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r>
            <a:rPr lang="en-US" sz="2400" kern="1200" noProof="0" dirty="0"/>
            <a:t>faster</a:t>
          </a:r>
          <a:endParaRPr lang="en-US" sz="2800" kern="1200" noProof="0" dirty="0"/>
        </a:p>
      </dsp:txBody>
      <dsp:txXfrm rot="-5400000">
        <a:off x="1363603" y="696302"/>
        <a:ext cx="1042139" cy="1197862"/>
      </dsp:txXfrm>
    </dsp:sp>
    <dsp:sp modelId="{0E654833-B3D7-4466-92A7-52D61721734B}">
      <dsp:nvSpPr>
        <dsp:cNvPr id="0" name=""/>
        <dsp:cNvSpPr/>
      </dsp:nvSpPr>
      <dsp:spPr>
        <a:xfrm rot="5400000">
          <a:off x="1828986" y="2015342"/>
          <a:ext cx="1740234" cy="1514003"/>
        </a:xfrm>
        <a:prstGeom prst="hexagon">
          <a:avLst>
            <a:gd name="adj" fmla="val 25000"/>
            <a:gd name="vf" fmla="val 115470"/>
          </a:avLst>
        </a:prstGeom>
        <a:solidFill>
          <a:schemeClr val="accent1"/>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noProof="0" dirty="0"/>
            <a:t>One solution to fit all</a:t>
          </a:r>
        </a:p>
      </dsp:txBody>
      <dsp:txXfrm rot="-5400000">
        <a:off x="2178033" y="2173413"/>
        <a:ext cx="1042139" cy="1197862"/>
      </dsp:txXfrm>
    </dsp:sp>
    <dsp:sp modelId="{A63FCDCD-9300-424B-B5F3-2490EC955C86}">
      <dsp:nvSpPr>
        <dsp:cNvPr id="0" name=""/>
        <dsp:cNvSpPr/>
      </dsp:nvSpPr>
      <dsp:spPr>
        <a:xfrm>
          <a:off x="0" y="2250273"/>
          <a:ext cx="1879453" cy="1044140"/>
        </a:xfrm>
        <a:prstGeom prst="rect">
          <a:avLst/>
        </a:prstGeom>
        <a:noFill/>
        <a:ln>
          <a:noFill/>
        </a:ln>
        <a:effectLst/>
      </dsp:spPr>
      <dsp:style>
        <a:lnRef idx="0">
          <a:scrgbClr r="0" g="0" b="0"/>
        </a:lnRef>
        <a:fillRef idx="0">
          <a:scrgbClr r="0" g="0" b="0"/>
        </a:fillRef>
        <a:effectRef idx="0">
          <a:scrgbClr r="0" g="0" b="0"/>
        </a:effectRef>
        <a:fontRef idx="minor"/>
      </dsp:style>
    </dsp:sp>
    <dsp:sp modelId="{9A83753A-2CBC-46D5-A237-7CD32146492C}">
      <dsp:nvSpPr>
        <dsp:cNvPr id="0" name=""/>
        <dsp:cNvSpPr/>
      </dsp:nvSpPr>
      <dsp:spPr>
        <a:xfrm rot="5400000">
          <a:off x="3464110" y="2015342"/>
          <a:ext cx="1740234" cy="1514003"/>
        </a:xfrm>
        <a:prstGeom prst="hexagon">
          <a:avLst>
            <a:gd name="adj" fmla="val 25000"/>
            <a:gd name="vf" fmla="val 115470"/>
          </a:avLst>
        </a:prstGeom>
        <a:solidFill>
          <a:srgbClr val="002060"/>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r>
            <a:rPr lang="en-US" sz="2400" kern="1200" noProof="0" dirty="0"/>
            <a:t>better</a:t>
          </a:r>
        </a:p>
      </dsp:txBody>
      <dsp:txXfrm rot="-5400000">
        <a:off x="3813157" y="2173413"/>
        <a:ext cx="1042139" cy="1197862"/>
      </dsp:txXfrm>
    </dsp:sp>
    <dsp:sp modelId="{D2E1E186-8C78-4977-9223-FD67ACF0AAFF}">
      <dsp:nvSpPr>
        <dsp:cNvPr id="0" name=""/>
        <dsp:cNvSpPr/>
      </dsp:nvSpPr>
      <dsp:spPr>
        <a:xfrm rot="5400000">
          <a:off x="2649680" y="3492453"/>
          <a:ext cx="1740234" cy="1514003"/>
        </a:xfrm>
        <a:prstGeom prst="hexagon">
          <a:avLst>
            <a:gd name="adj" fmla="val 25000"/>
            <a:gd name="vf" fmla="val 115470"/>
          </a:avLst>
        </a:prstGeom>
        <a:solidFill>
          <a:schemeClr val="accent1"/>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noProof="0" dirty="0"/>
            <a:t>break team silos </a:t>
          </a:r>
        </a:p>
      </dsp:txBody>
      <dsp:txXfrm rot="-5400000">
        <a:off x="2998727" y="3650524"/>
        <a:ext cx="1042139" cy="1197862"/>
      </dsp:txXfrm>
    </dsp:sp>
    <dsp:sp modelId="{89B2CB3C-27CC-44EB-BAAE-8724FF87BCA9}">
      <dsp:nvSpPr>
        <dsp:cNvPr id="0" name=""/>
        <dsp:cNvSpPr/>
      </dsp:nvSpPr>
      <dsp:spPr>
        <a:xfrm>
          <a:off x="4322742" y="3727384"/>
          <a:ext cx="1942101" cy="1044140"/>
        </a:xfrm>
        <a:prstGeom prst="rect">
          <a:avLst/>
        </a:prstGeom>
        <a:noFill/>
        <a:ln>
          <a:noFill/>
        </a:ln>
        <a:effectLst/>
      </dsp:spPr>
      <dsp:style>
        <a:lnRef idx="0">
          <a:scrgbClr r="0" g="0" b="0"/>
        </a:lnRef>
        <a:fillRef idx="0">
          <a:scrgbClr r="0" g="0" b="0"/>
        </a:fillRef>
        <a:effectRef idx="0">
          <a:scrgbClr r="0" g="0" b="0"/>
        </a:effectRef>
        <a:fontRef idx="minor"/>
      </dsp:style>
    </dsp:sp>
    <dsp:sp modelId="{9FF7C39B-A2FA-439F-90BC-D1F836A75373}">
      <dsp:nvSpPr>
        <dsp:cNvPr id="0" name=""/>
        <dsp:cNvSpPr/>
      </dsp:nvSpPr>
      <dsp:spPr>
        <a:xfrm rot="5400000">
          <a:off x="1014556" y="3492453"/>
          <a:ext cx="1740234" cy="1514003"/>
        </a:xfrm>
        <a:prstGeom prst="hexagon">
          <a:avLst>
            <a:gd name="adj" fmla="val 25000"/>
            <a:gd name="vf" fmla="val 115470"/>
          </a:avLst>
        </a:prstGeom>
        <a:solidFill>
          <a:srgbClr val="002060"/>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977900">
            <a:lnSpc>
              <a:spcPct val="90000"/>
            </a:lnSpc>
            <a:spcBef>
              <a:spcPct val="0"/>
            </a:spcBef>
            <a:spcAft>
              <a:spcPct val="35000"/>
            </a:spcAft>
            <a:buNone/>
          </a:pPr>
          <a:r>
            <a:rPr lang="en-US" sz="2200" kern="1200" noProof="0" dirty="0"/>
            <a:t>already here</a:t>
          </a:r>
        </a:p>
      </dsp:txBody>
      <dsp:txXfrm rot="-5400000">
        <a:off x="1363603" y="3650524"/>
        <a:ext cx="1042139" cy="1197862"/>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10.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9.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0-09-2018</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0/09/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We</a:t>
            </a:r>
            <a:r>
              <a:rPr lang="en-US" baseline="0" noProof="0" dirty="0"/>
              <a:t> are Łukasz and Zaneta. We are working at Capgemini Wroclaw and we would like to show you why we are creating automated test cases better and faster than you. </a:t>
            </a:r>
            <a:endParaRPr lang="en-US" noProof="0" dirty="0"/>
          </a:p>
          <a:p>
            <a:endParaRPr lang="de-DE"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8615646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dirty="0"/>
              <a:t>As the QA team should be responbile for whole  process, therefore infrastructure such a:</a:t>
            </a:r>
          </a:p>
          <a:p>
            <a:pPr marL="171450" indent="-171450">
              <a:buFont typeface="Arial" panose="020B0604020202020204" pitchFamily="34" charset="0"/>
              <a:buChar char="•"/>
            </a:pPr>
            <a:r>
              <a:rPr lang="pl-PL" dirty="0"/>
              <a:t>test executor while regression phase in CD  and</a:t>
            </a:r>
          </a:p>
          <a:p>
            <a:pPr marL="171450" indent="-171450">
              <a:buFont typeface="Arial" panose="020B0604020202020204" pitchFamily="34" charset="0"/>
              <a:buChar char="•"/>
            </a:pPr>
            <a:r>
              <a:rPr lang="pl-PL" dirty="0"/>
              <a:t>CI againts test case along develop process. </a:t>
            </a:r>
          </a:p>
          <a:p>
            <a:pPr marL="171450" indent="-171450">
              <a:buFont typeface="Arial" panose="020B0604020202020204" pitchFamily="34" charset="0"/>
              <a:buChar char="•"/>
            </a:pPr>
            <a:endParaRPr lang="pl-PL" dirty="0"/>
          </a:p>
          <a:p>
            <a:pPr marL="0" indent="0">
              <a:buFont typeface="Arial" panose="020B0604020202020204" pitchFamily="34" charset="0"/>
              <a:buNone/>
            </a:pPr>
            <a:r>
              <a:rPr lang="pl-PL" dirty="0"/>
              <a:t>We give „out of the box”  fully scalable jenkins with: </a:t>
            </a:r>
          </a:p>
          <a:p>
            <a:pPr marL="171450" indent="-171450">
              <a:buFont typeface="Arial" panose="020B0604020202020204" pitchFamily="34" charset="0"/>
              <a:buChar char="•"/>
            </a:pPr>
            <a:r>
              <a:rPr lang="pl-PL" dirty="0"/>
              <a:t>examples how to create pipelines </a:t>
            </a:r>
          </a:p>
          <a:p>
            <a:pPr marL="171450" indent="-171450">
              <a:buFont typeface="Arial" panose="020B0604020202020204" pitchFamily="34" charset="0"/>
              <a:buChar char="•"/>
            </a:pPr>
            <a:r>
              <a:rPr lang="pl-PL" dirty="0"/>
              <a:t>Running jobs for CI </a:t>
            </a:r>
          </a:p>
          <a:p>
            <a:pPr marL="171450" indent="-171450">
              <a:buFont typeface="Arial" panose="020B0604020202020204" pitchFamily="34" charset="0"/>
              <a:buChar char="•"/>
            </a:pPr>
            <a:r>
              <a:rPr lang="pl-PL" dirty="0"/>
              <a:t>Running jobs ready to plug in to CD stage</a:t>
            </a:r>
          </a:p>
          <a:p>
            <a:pPr marL="171450" indent="-171450">
              <a:buFont typeface="Arial" panose="020B0604020202020204" pitchFamily="34" charset="0"/>
              <a:buChar char="•"/>
            </a:pPr>
            <a:endParaRPr lang="pl-PL" dirty="0"/>
          </a:p>
          <a:p>
            <a:pPr marL="0" indent="0">
              <a:buFont typeface="Arial" panose="020B0604020202020204" pitchFamily="34" charset="0"/>
              <a:buNone/>
            </a:pPr>
            <a:r>
              <a:rPr lang="pl-PL" dirty="0"/>
              <a:t>All of this, with docker images to mimic any OS/ programmic langagues/ library  dependencies. </a:t>
            </a:r>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24906400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dirty="0"/>
              <a:t>Let us switch on quality, by having common approach with one solution. When at the end, build very close collaboration team, responsible by the product they create. </a:t>
            </a:r>
          </a:p>
          <a:p>
            <a:endParaRPr lang="de-DE" dirty="0"/>
          </a:p>
          <a:p>
            <a:r>
              <a:rPr lang="pl-PL" dirty="0"/>
              <a:t>Finally do not discover America once more, it was already discover. Instead, discover something new, with symillar or even bigger volume.  Let us together enhance current solutions and bring it to new era.</a:t>
            </a:r>
            <a:endParaRPr lang="en-US" dirty="0"/>
          </a:p>
          <a:p>
            <a:endParaRPr lang="en-US" dirty="0"/>
          </a:p>
          <a:p>
            <a:r>
              <a:rPr lang="en-US" dirty="0"/>
              <a:t>America</a:t>
            </a:r>
            <a:r>
              <a:rPr lang="en-US" baseline="0" dirty="0"/>
              <a:t> was already discovered. We have one solution, it is faster, better and already available</a:t>
            </a:r>
          </a:p>
          <a:p>
            <a:endParaRPr lang="en-US" baseline="0" dirty="0"/>
          </a:p>
          <a:p>
            <a:r>
              <a:rPr lang="en-US" baseline="0" dirty="0"/>
              <a:t>Now you can get there very quick. Just take our solution and start to automate</a:t>
            </a:r>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a:p>
            <a:r>
              <a:rPr lang="de-DE" dirty="0" err="1"/>
              <a:t>Now</a:t>
            </a:r>
            <a:r>
              <a:rPr lang="de-DE" dirty="0"/>
              <a:t>, </a:t>
            </a:r>
            <a:r>
              <a:rPr lang="de-DE" dirty="0" err="1"/>
              <a:t>you</a:t>
            </a:r>
            <a:r>
              <a:rPr lang="de-DE" dirty="0"/>
              <a:t> </a:t>
            </a:r>
            <a:r>
              <a:rPr lang="de-DE" dirty="0" err="1"/>
              <a:t>can</a:t>
            </a:r>
            <a:r>
              <a:rPr lang="de-DE" baseline="0" dirty="0"/>
              <a:t> </a:t>
            </a:r>
            <a:r>
              <a:rPr lang="de-DE" baseline="0" dirty="0" err="1"/>
              <a:t>go</a:t>
            </a:r>
            <a:r>
              <a:rPr lang="de-DE" baseline="0" dirty="0"/>
              <a:t> </a:t>
            </a:r>
            <a:r>
              <a:rPr lang="de-DE" baseline="0" dirty="0" err="1"/>
              <a:t>b</a:t>
            </a:r>
            <a:r>
              <a:rPr lang="de-DE" dirty="0" err="1"/>
              <a:t>etter</a:t>
            </a:r>
            <a:r>
              <a:rPr lang="de-DE" dirty="0"/>
              <a:t> </a:t>
            </a:r>
            <a:r>
              <a:rPr lang="de-DE" dirty="0" err="1"/>
              <a:t>and</a:t>
            </a:r>
            <a:r>
              <a:rPr lang="de-DE" dirty="0"/>
              <a:t> </a:t>
            </a:r>
            <a:r>
              <a:rPr lang="de-DE" dirty="0" err="1"/>
              <a:t>faster</a:t>
            </a:r>
            <a:r>
              <a:rPr lang="de-DE" baseline="0" dirty="0"/>
              <a:t> </a:t>
            </a:r>
            <a:r>
              <a:rPr lang="de-DE" baseline="0" dirty="0" err="1"/>
              <a:t>to</a:t>
            </a:r>
            <a:r>
              <a:rPr lang="de-DE" baseline="0" dirty="0"/>
              <a:t> Amerika</a:t>
            </a:r>
          </a:p>
          <a:p>
            <a:endParaRPr lang="en-US" dirty="0"/>
          </a:p>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16392458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2</a:t>
            </a:fld>
            <a:endParaRPr lang="en-US" dirty="0"/>
          </a:p>
        </p:txBody>
      </p:sp>
    </p:spTree>
    <p:extLst>
      <p:ext uri="{BB962C8B-B14F-4D97-AF65-F5344CB8AC3E}">
        <p14:creationId xmlns:p14="http://schemas.microsoft.com/office/powerpoint/2010/main" val="35480434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dirty="0"/>
              <a:t>Applications have at least one layer (UI, API, Backend), most of the cases, have all of them. </a:t>
            </a:r>
            <a:br>
              <a:rPr lang="en-US" dirty="0"/>
            </a:br>
            <a:r>
              <a:rPr lang="en-US" dirty="0"/>
              <a:t>Therefore E2E test framework addresses all these layers. </a:t>
            </a:r>
          </a:p>
          <a:p>
            <a:r>
              <a:rPr lang="en-US" sz="900" kern="1200" dirty="0">
                <a:solidFill>
                  <a:schemeClr val="tx1"/>
                </a:solidFill>
                <a:effectLst/>
                <a:latin typeface="+mn-lt"/>
                <a:ea typeface="+mn-ea"/>
                <a:cs typeface="+mn-cs"/>
              </a:rPr>
              <a:t>E2E (End to end) tests are either tests through technology stack or functional stack. </a:t>
            </a:r>
          </a:p>
          <a:p>
            <a:endParaRPr lang="en-US" sz="900" kern="1200" dirty="0">
              <a:solidFill>
                <a:schemeClr val="tx1"/>
              </a:solidFill>
              <a:effectLst/>
              <a:latin typeface="+mn-lt"/>
              <a:ea typeface="+mn-ea"/>
              <a:cs typeface="+mn-cs"/>
            </a:endParaRPr>
          </a:p>
          <a:p>
            <a:r>
              <a:rPr lang="en-US" sz="900" kern="1200" dirty="0">
                <a:solidFill>
                  <a:schemeClr val="tx1"/>
                </a:solidFill>
                <a:effectLst/>
                <a:latin typeface="+mn-lt"/>
                <a:ea typeface="+mn-ea"/>
                <a:cs typeface="+mn-cs"/>
              </a:rPr>
              <a:t>Depends on what is your goal. </a:t>
            </a:r>
          </a:p>
          <a:p>
            <a:r>
              <a:rPr lang="en-US" sz="900" kern="1200" dirty="0">
                <a:solidFill>
                  <a:schemeClr val="tx1"/>
                </a:solidFill>
                <a:effectLst/>
                <a:latin typeface="+mn-lt"/>
                <a:ea typeface="+mn-ea"/>
                <a:cs typeface="+mn-cs"/>
              </a:rPr>
              <a:t>This is how we see and use E2E test framework. </a:t>
            </a:r>
          </a:p>
          <a:p>
            <a:r>
              <a:rPr lang="en-US" sz="900" kern="1200" dirty="0">
                <a:solidFill>
                  <a:schemeClr val="tx1"/>
                </a:solidFill>
                <a:effectLst/>
                <a:latin typeface="+mn-lt"/>
                <a:ea typeface="+mn-ea"/>
                <a:cs typeface="+mn-cs"/>
              </a:rPr>
              <a:t>It a</a:t>
            </a:r>
            <a:r>
              <a:rPr lang="en-US" sz="900" kern="1200" noProof="0" dirty="0">
                <a:solidFill>
                  <a:schemeClr val="tx1"/>
                </a:solidFill>
                <a:effectLst/>
                <a:latin typeface="+mn-lt"/>
                <a:ea typeface="+mn-ea"/>
                <a:cs typeface="+mn-cs"/>
              </a:rPr>
              <a:t>llows</a:t>
            </a:r>
            <a:r>
              <a:rPr lang="en-US" sz="900" kern="1200" dirty="0">
                <a:solidFill>
                  <a:schemeClr val="tx1"/>
                </a:solidFill>
                <a:effectLst/>
                <a:latin typeface="+mn-lt"/>
                <a:ea typeface="+mn-ea"/>
                <a:cs typeface="+mn-cs"/>
              </a:rPr>
              <a:t> to execute in one test file: </a:t>
            </a:r>
          </a:p>
          <a:p>
            <a:pPr marL="228600" indent="-228600">
              <a:buAutoNum type="arabicPeriod"/>
            </a:pPr>
            <a:r>
              <a:rPr lang="en-US" sz="900" kern="1200" dirty="0">
                <a:solidFill>
                  <a:schemeClr val="tx1"/>
                </a:solidFill>
                <a:effectLst/>
                <a:latin typeface="+mn-lt"/>
                <a:ea typeface="+mn-ea"/>
                <a:cs typeface="+mn-cs"/>
              </a:rPr>
              <a:t>Alter value on database </a:t>
            </a:r>
          </a:p>
          <a:p>
            <a:pPr marL="228600" indent="-228600">
              <a:buAutoNum type="arabicPeriod"/>
            </a:pPr>
            <a:r>
              <a:rPr lang="en-US" sz="900" kern="1200" dirty="0">
                <a:solidFill>
                  <a:schemeClr val="tx1"/>
                </a:solidFill>
                <a:effectLst/>
                <a:latin typeface="+mn-lt"/>
                <a:ea typeface="+mn-ea"/>
                <a:cs typeface="+mn-cs"/>
              </a:rPr>
              <a:t>Then validate on webservice this change </a:t>
            </a:r>
            <a:br>
              <a:rPr lang="en-US" sz="900" kern="1200" dirty="0">
                <a:solidFill>
                  <a:schemeClr val="tx1"/>
                </a:solidFill>
                <a:effectLst/>
                <a:latin typeface="+mn-lt"/>
                <a:ea typeface="+mn-ea"/>
                <a:cs typeface="+mn-cs"/>
              </a:rPr>
            </a:br>
            <a:r>
              <a:rPr lang="en-US" sz="900" kern="1200" dirty="0">
                <a:solidFill>
                  <a:schemeClr val="tx1"/>
                </a:solidFill>
                <a:effectLst/>
                <a:latin typeface="+mn-lt"/>
                <a:ea typeface="+mn-ea"/>
                <a:cs typeface="+mn-cs"/>
              </a:rPr>
              <a:t>and finally</a:t>
            </a:r>
          </a:p>
          <a:p>
            <a:pPr marL="228600" indent="-228600">
              <a:buAutoNum type="arabicPeriod"/>
            </a:pPr>
            <a:r>
              <a:rPr lang="en-US" sz="900" kern="1200" dirty="0">
                <a:solidFill>
                  <a:schemeClr val="tx1"/>
                </a:solidFill>
                <a:effectLst/>
                <a:latin typeface="+mn-lt"/>
                <a:ea typeface="+mn-ea"/>
                <a:cs typeface="+mn-cs"/>
              </a:rPr>
              <a:t> On UI verify update </a:t>
            </a:r>
            <a:br>
              <a:rPr lang="en-US" sz="900" kern="1200" dirty="0">
                <a:solidFill>
                  <a:schemeClr val="tx1"/>
                </a:solidFill>
                <a:effectLst/>
                <a:latin typeface="+mn-lt"/>
                <a:ea typeface="+mn-ea"/>
                <a:cs typeface="+mn-cs"/>
              </a:rPr>
            </a:br>
            <a:r>
              <a:rPr lang="en-US" sz="900" b="1" kern="1200" dirty="0">
                <a:solidFill>
                  <a:schemeClr val="tx1"/>
                </a:solidFill>
                <a:effectLst/>
                <a:latin typeface="+mn-lt"/>
                <a:ea typeface="+mn-ea"/>
                <a:cs typeface="+mn-cs"/>
              </a:rPr>
              <a:t>**OR**</a:t>
            </a:r>
          </a:p>
          <a:p>
            <a:pPr marL="0" indent="0">
              <a:buNone/>
            </a:pPr>
            <a:r>
              <a:rPr lang="en-US" sz="900" kern="1200" dirty="0">
                <a:solidFill>
                  <a:schemeClr val="tx1"/>
                </a:solidFill>
                <a:effectLst/>
                <a:latin typeface="+mn-lt"/>
                <a:ea typeface="+mn-ea"/>
                <a:cs typeface="+mn-cs"/>
              </a:rPr>
              <a:t>1. On UI trigger an action </a:t>
            </a:r>
          </a:p>
          <a:p>
            <a:pPr marL="0" indent="0">
              <a:buNone/>
            </a:pPr>
            <a:r>
              <a:rPr lang="en-US" sz="900" kern="1200" dirty="0">
                <a:solidFill>
                  <a:schemeClr val="tx1"/>
                </a:solidFill>
                <a:effectLst/>
                <a:latin typeface="+mn-lt"/>
                <a:ea typeface="+mn-ea"/>
                <a:cs typeface="+mn-cs"/>
              </a:rPr>
              <a:t>2. Then on UI validate response of this action </a:t>
            </a:r>
          </a:p>
          <a:p>
            <a:pPr marL="0" indent="0">
              <a:buNone/>
            </a:pPr>
            <a:endParaRPr lang="en-US" sz="900" kern="1200" dirty="0">
              <a:solidFill>
                <a:schemeClr val="tx1"/>
              </a:solidFill>
              <a:effectLst/>
              <a:latin typeface="+mn-lt"/>
              <a:ea typeface="+mn-ea"/>
              <a:cs typeface="+mn-cs"/>
            </a:endParaRPr>
          </a:p>
          <a:p>
            <a:pPr marL="0" indent="0">
              <a:buNone/>
            </a:pPr>
            <a:endParaRPr lang="en-US" sz="900" kern="1200" dirty="0">
              <a:solidFill>
                <a:schemeClr val="tx1"/>
              </a:solidFill>
              <a:effectLst/>
              <a:latin typeface="+mn-lt"/>
              <a:ea typeface="+mn-ea"/>
              <a:cs typeface="+mn-cs"/>
            </a:endParaRPr>
          </a:p>
          <a:p>
            <a:pPr marL="0" indent="0">
              <a:buNone/>
            </a:pPr>
            <a:r>
              <a:rPr lang="en-US" sz="900" kern="1200" dirty="0">
                <a:solidFill>
                  <a:schemeClr val="tx1"/>
                </a:solidFill>
                <a:effectLst/>
                <a:latin typeface="+mn-lt"/>
                <a:ea typeface="+mn-ea"/>
                <a:cs typeface="+mn-cs"/>
              </a:rPr>
              <a:t>UI modules – Selenium, MobileApp, StandaloneApp</a:t>
            </a:r>
          </a:p>
          <a:p>
            <a:pPr marL="0" indent="0">
              <a:buNone/>
            </a:pPr>
            <a:r>
              <a:rPr lang="en-US" sz="900" kern="1200" dirty="0">
                <a:solidFill>
                  <a:schemeClr val="tx1"/>
                </a:solidFill>
                <a:effectLst/>
                <a:latin typeface="+mn-lt"/>
                <a:ea typeface="+mn-ea"/>
                <a:cs typeface="+mn-cs"/>
              </a:rPr>
              <a:t>API modules – WebAPI</a:t>
            </a:r>
          </a:p>
          <a:p>
            <a:pPr marL="0" indent="0">
              <a:buNone/>
            </a:pPr>
            <a:r>
              <a:rPr lang="en-US" sz="900" kern="1200" dirty="0">
                <a:solidFill>
                  <a:schemeClr val="tx1"/>
                </a:solidFill>
                <a:effectLst/>
                <a:latin typeface="+mn-lt"/>
                <a:ea typeface="+mn-ea"/>
                <a:cs typeface="+mn-cs"/>
              </a:rPr>
              <a:t>Backend modules - SQLdatabase</a:t>
            </a:r>
          </a:p>
          <a:p>
            <a:pPr marL="0" indent="0">
              <a:buNone/>
            </a:pPr>
            <a:endParaRPr lang="en-US" sz="900" kern="1200" dirty="0">
              <a:solidFill>
                <a:schemeClr val="tx1"/>
              </a:solidFill>
              <a:effectLst/>
              <a:latin typeface="+mn-lt"/>
              <a:ea typeface="+mn-ea"/>
              <a:cs typeface="+mn-cs"/>
            </a:endParaRPr>
          </a:p>
          <a:p>
            <a:pPr marL="0" indent="0">
              <a:buNone/>
            </a:pPr>
            <a:r>
              <a:rPr lang="en-US" sz="900" kern="1200" dirty="0">
                <a:solidFill>
                  <a:schemeClr val="tx1"/>
                </a:solidFill>
                <a:effectLst/>
                <a:latin typeface="+mn-lt"/>
                <a:ea typeface="+mn-ea"/>
                <a:cs typeface="+mn-cs"/>
              </a:rPr>
              <a:t>Security module – allows to create security test on UI and API. </a:t>
            </a:r>
          </a:p>
          <a:p>
            <a:pPr marL="0" indent="0">
              <a:buNone/>
            </a:pPr>
            <a:r>
              <a:rPr lang="en-US" sz="900" kern="1200" dirty="0">
                <a:solidFill>
                  <a:schemeClr val="tx1"/>
                </a:solidFill>
                <a:effectLst/>
                <a:latin typeface="+mn-lt"/>
                <a:ea typeface="+mn-ea"/>
                <a:cs typeface="+mn-cs"/>
              </a:rPr>
              <a:t>DevOps – this is fraction of DevOps, however it is „out of the box” infrastructure to execute test cases. Just as Selenium Grid, Jenkins.</a:t>
            </a:r>
          </a:p>
          <a:p>
            <a:pPr marL="0" indent="0">
              <a:buNone/>
            </a:pPr>
            <a:endParaRPr lang="en-US" sz="900" kern="1200" dirty="0">
              <a:solidFill>
                <a:schemeClr val="tx1"/>
              </a:solidFill>
              <a:effectLst/>
              <a:latin typeface="+mn-lt"/>
              <a:ea typeface="+mn-ea"/>
              <a:cs typeface="+mn-cs"/>
            </a:endParaRPr>
          </a:p>
          <a:p>
            <a:pPr marL="0" indent="0">
              <a:buNone/>
            </a:pPr>
            <a:r>
              <a:rPr lang="en-US" sz="900" kern="1200" dirty="0">
                <a:solidFill>
                  <a:schemeClr val="tx1"/>
                </a:solidFill>
                <a:effectLst/>
                <a:latin typeface="+mn-lt"/>
                <a:ea typeface="+mn-ea"/>
                <a:cs typeface="+mn-cs"/>
              </a:rPr>
              <a:t>Overall takeaway: </a:t>
            </a:r>
          </a:p>
          <a:p>
            <a:pPr marL="0" indent="0">
              <a:buNone/>
            </a:pPr>
            <a:r>
              <a:rPr lang="en-US" sz="900" kern="1200" dirty="0">
                <a:solidFill>
                  <a:schemeClr val="tx1"/>
                </a:solidFill>
                <a:effectLst/>
                <a:latin typeface="+mn-lt"/>
                <a:ea typeface="+mn-ea"/>
                <a:cs typeface="+mn-cs"/>
              </a:rPr>
              <a:t>In day 0 of a project – engineer write first test cases and plug in them to SDLC in the same day. </a:t>
            </a:r>
          </a:p>
          <a:p>
            <a:pPr marL="0" indent="0">
              <a:buNone/>
            </a:pPr>
            <a:endParaRPr lang="en-US" sz="900" kern="1200" dirty="0">
              <a:solidFill>
                <a:schemeClr val="tx1"/>
              </a:solidFill>
              <a:effectLst/>
              <a:latin typeface="+mn-lt"/>
              <a:ea typeface="+mn-ea"/>
              <a:cs typeface="+mn-cs"/>
            </a:endParaRPr>
          </a:p>
          <a:p>
            <a:r>
              <a:rPr lang="en-US" sz="900" kern="1200" dirty="0">
                <a:solidFill>
                  <a:schemeClr val="tx1"/>
                </a:solidFill>
                <a:effectLst/>
                <a:latin typeface="+mn-lt"/>
                <a:ea typeface="+mn-ea"/>
                <a:cs typeface="+mn-cs"/>
              </a:rPr>
              <a:t>Everything with tangible examples of how to build resilient and robust integration test cases. </a:t>
            </a:r>
          </a:p>
          <a:p>
            <a:r>
              <a:rPr lang="en-US" sz="900" kern="1200" dirty="0">
                <a:solidFill>
                  <a:schemeClr val="tx1"/>
                </a:solidFill>
                <a:effectLst/>
                <a:latin typeface="+mn-lt"/>
                <a:ea typeface="+mn-ea"/>
                <a:cs typeface="+mn-cs"/>
              </a:rPr>
              <a:t>Wrapped with experience taken from variety of IT projects. </a:t>
            </a:r>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dirty="0"/>
          </a:p>
        </p:txBody>
      </p:sp>
    </p:spTree>
    <p:extLst>
      <p:ext uri="{BB962C8B-B14F-4D97-AF65-F5344CB8AC3E}">
        <p14:creationId xmlns:p14="http://schemas.microsoft.com/office/powerpoint/2010/main" val="10826083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dirty="0"/>
              <a:t>The average level of automation for test activities is around 16%</a:t>
            </a:r>
            <a:endParaRPr lang="de-DE"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extLst>
      <p:ext uri="{BB962C8B-B14F-4D97-AF65-F5344CB8AC3E}">
        <p14:creationId xmlns:p14="http://schemas.microsoft.com/office/powerpoint/2010/main" val="4517477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noProof="0" dirty="0"/>
              <a:t>Let‘s take a look into numbers: </a:t>
            </a:r>
          </a:p>
          <a:p>
            <a:r>
              <a:rPr lang="en-US" baseline="0" noProof="0" dirty="0"/>
              <a:t>5 people multiplying by 3 months counting 60$ person/hour  equals 170 thousands of dollars</a:t>
            </a:r>
          </a:p>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14460741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For our adventure</a:t>
            </a:r>
            <a:r>
              <a:rPr lang="en-US" baseline="0" noProof="0" dirty="0"/>
              <a:t> we have taken regular Selenium, our experiences with test environment, automation, already highlighted problems and… we have merged it together.  </a:t>
            </a:r>
            <a:endParaRPr lang="en-US" noProof="0"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We hav</a:t>
            </a:r>
            <a:r>
              <a:rPr lang="en-US" baseline="0" noProof="0" dirty="0"/>
              <a:t>e come to idea that Collumb already discovered America and there is no need to do it again. Creating environment for test automation over and over again is like discovering already discovered America – we are not inventing anything innovative and wasting a lot of tim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noProof="0" dirty="0"/>
              <a:t>That is why we have created the framework </a:t>
            </a:r>
            <a:endParaRPr lang="en-US" noProof="0" dirty="0"/>
          </a:p>
          <a:p>
            <a:endParaRPr lang="de-DE" dirty="0"/>
          </a:p>
          <a:p>
            <a:endParaRPr lang="de-DE" baseline="0" dirty="0"/>
          </a:p>
          <a:p>
            <a:endParaRPr lang="de-DE" baseline="0" dirty="0"/>
          </a:p>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5834200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dirty="0"/>
              <a:t>Process defragmentation  - each test team has different (or has no) acceptance criteria to set test automation status „done”</a:t>
            </a:r>
          </a:p>
          <a:p>
            <a:r>
              <a:rPr lang="pl-PL" dirty="0"/>
              <a:t>Team silos – business kownledge and experience is not shared accross dev / qa / ops  teams</a:t>
            </a:r>
          </a:p>
          <a:p>
            <a:r>
              <a:rPr lang="pl-PL" dirty="0"/>
              <a:t>Validation at last stage – quantity of features is more important that it quality. Therefore test is pushed forward till last day of release</a:t>
            </a:r>
          </a:p>
          <a:p>
            <a:r>
              <a:rPr lang="pl-PL" dirty="0"/>
              <a:t>Tools orientation – Pick the tool and then finally verify what we can do with it. While it should be oppositive. </a:t>
            </a:r>
          </a:p>
          <a:p>
            <a:endParaRPr lang="pl-PL" dirty="0"/>
          </a:p>
          <a:p>
            <a:r>
              <a:rPr lang="pl-PL" dirty="0"/>
              <a:t>These all ingriedinet generate clumsy Software Delivery Life Cycle</a:t>
            </a:r>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35789605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E2E</a:t>
            </a:r>
            <a:r>
              <a:rPr lang="en-US" baseline="0" noProof="0" dirty="0"/>
              <a:t> tests are usually considered as UI only. You cannot be more wrong! E2E is much more complex but it is not a problem for us. We can create a test which takes external data, fill in the UI and validate DB output for crated flow.</a:t>
            </a:r>
            <a:endParaRPr lang="en-US" noProof="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21792901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dirty="0"/>
              <a:t>Applications have at least one layer (UI, API, Backend), most of the cases, have all of them. </a:t>
            </a:r>
            <a:br>
              <a:rPr lang="en-US" dirty="0"/>
            </a:br>
            <a:r>
              <a:rPr lang="en-US" dirty="0"/>
              <a:t>Therefore E2E test framework addresses all these layers. </a:t>
            </a:r>
          </a:p>
          <a:p>
            <a:r>
              <a:rPr lang="en-US" sz="900" kern="1200" dirty="0">
                <a:solidFill>
                  <a:schemeClr val="tx1"/>
                </a:solidFill>
                <a:effectLst/>
                <a:latin typeface="+mn-lt"/>
                <a:ea typeface="+mn-ea"/>
                <a:cs typeface="+mn-cs"/>
              </a:rPr>
              <a:t>E2E (End to end) tests are either tests through technology stack or functional stack. </a:t>
            </a:r>
          </a:p>
          <a:p>
            <a:endParaRPr lang="en-US" sz="900" kern="1200" dirty="0">
              <a:solidFill>
                <a:schemeClr val="tx1"/>
              </a:solidFill>
              <a:effectLst/>
              <a:latin typeface="+mn-lt"/>
              <a:ea typeface="+mn-ea"/>
              <a:cs typeface="+mn-cs"/>
            </a:endParaRPr>
          </a:p>
          <a:p>
            <a:r>
              <a:rPr lang="en-US" sz="900" kern="1200" dirty="0">
                <a:solidFill>
                  <a:schemeClr val="tx1"/>
                </a:solidFill>
                <a:effectLst/>
                <a:latin typeface="+mn-lt"/>
                <a:ea typeface="+mn-ea"/>
                <a:cs typeface="+mn-cs"/>
              </a:rPr>
              <a:t>Depends on what is your goal. </a:t>
            </a:r>
          </a:p>
          <a:p>
            <a:r>
              <a:rPr lang="en-US" sz="900" kern="1200" dirty="0">
                <a:solidFill>
                  <a:schemeClr val="tx1"/>
                </a:solidFill>
                <a:effectLst/>
                <a:latin typeface="+mn-lt"/>
                <a:ea typeface="+mn-ea"/>
                <a:cs typeface="+mn-cs"/>
              </a:rPr>
              <a:t>This is how we see and use E2E test framework. </a:t>
            </a:r>
          </a:p>
          <a:p>
            <a:r>
              <a:rPr lang="en-US" sz="900" kern="1200" dirty="0">
                <a:solidFill>
                  <a:schemeClr val="tx1"/>
                </a:solidFill>
                <a:effectLst/>
                <a:latin typeface="+mn-lt"/>
                <a:ea typeface="+mn-ea"/>
                <a:cs typeface="+mn-cs"/>
              </a:rPr>
              <a:t>It a</a:t>
            </a:r>
            <a:r>
              <a:rPr lang="en-US" sz="900" kern="1200" noProof="0" dirty="0">
                <a:solidFill>
                  <a:schemeClr val="tx1"/>
                </a:solidFill>
                <a:effectLst/>
                <a:latin typeface="+mn-lt"/>
                <a:ea typeface="+mn-ea"/>
                <a:cs typeface="+mn-cs"/>
              </a:rPr>
              <a:t>llows</a:t>
            </a:r>
            <a:r>
              <a:rPr lang="en-US" sz="900" kern="1200" dirty="0">
                <a:solidFill>
                  <a:schemeClr val="tx1"/>
                </a:solidFill>
                <a:effectLst/>
                <a:latin typeface="+mn-lt"/>
                <a:ea typeface="+mn-ea"/>
                <a:cs typeface="+mn-cs"/>
              </a:rPr>
              <a:t> to execute in one test file: </a:t>
            </a:r>
          </a:p>
          <a:p>
            <a:pPr marL="228600" indent="-228600">
              <a:buAutoNum type="arabicPeriod"/>
            </a:pPr>
            <a:r>
              <a:rPr lang="en-US" sz="900" kern="1200" dirty="0">
                <a:solidFill>
                  <a:schemeClr val="tx1"/>
                </a:solidFill>
                <a:effectLst/>
                <a:latin typeface="+mn-lt"/>
                <a:ea typeface="+mn-ea"/>
                <a:cs typeface="+mn-cs"/>
              </a:rPr>
              <a:t>Alter value on database </a:t>
            </a:r>
          </a:p>
          <a:p>
            <a:pPr marL="228600" indent="-228600">
              <a:buAutoNum type="arabicPeriod"/>
            </a:pPr>
            <a:r>
              <a:rPr lang="en-US" sz="900" kern="1200" dirty="0">
                <a:solidFill>
                  <a:schemeClr val="tx1"/>
                </a:solidFill>
                <a:effectLst/>
                <a:latin typeface="+mn-lt"/>
                <a:ea typeface="+mn-ea"/>
                <a:cs typeface="+mn-cs"/>
              </a:rPr>
              <a:t>Then validate on webservice this change </a:t>
            </a:r>
            <a:br>
              <a:rPr lang="en-US" sz="900" kern="1200" dirty="0">
                <a:solidFill>
                  <a:schemeClr val="tx1"/>
                </a:solidFill>
                <a:effectLst/>
                <a:latin typeface="+mn-lt"/>
                <a:ea typeface="+mn-ea"/>
                <a:cs typeface="+mn-cs"/>
              </a:rPr>
            </a:br>
            <a:r>
              <a:rPr lang="en-US" sz="900" kern="1200" dirty="0">
                <a:solidFill>
                  <a:schemeClr val="tx1"/>
                </a:solidFill>
                <a:effectLst/>
                <a:latin typeface="+mn-lt"/>
                <a:ea typeface="+mn-ea"/>
                <a:cs typeface="+mn-cs"/>
              </a:rPr>
              <a:t>and finally</a:t>
            </a:r>
          </a:p>
          <a:p>
            <a:pPr marL="228600" indent="-228600">
              <a:buAutoNum type="arabicPeriod"/>
            </a:pPr>
            <a:r>
              <a:rPr lang="en-US" sz="900" kern="1200" dirty="0">
                <a:solidFill>
                  <a:schemeClr val="tx1"/>
                </a:solidFill>
                <a:effectLst/>
                <a:latin typeface="+mn-lt"/>
                <a:ea typeface="+mn-ea"/>
                <a:cs typeface="+mn-cs"/>
              </a:rPr>
              <a:t> On UI verify update </a:t>
            </a:r>
            <a:br>
              <a:rPr lang="en-US" sz="900" kern="1200" dirty="0">
                <a:solidFill>
                  <a:schemeClr val="tx1"/>
                </a:solidFill>
                <a:effectLst/>
                <a:latin typeface="+mn-lt"/>
                <a:ea typeface="+mn-ea"/>
                <a:cs typeface="+mn-cs"/>
              </a:rPr>
            </a:br>
            <a:r>
              <a:rPr lang="en-US" sz="900" b="1" kern="1200" dirty="0">
                <a:solidFill>
                  <a:schemeClr val="tx1"/>
                </a:solidFill>
                <a:effectLst/>
                <a:latin typeface="+mn-lt"/>
                <a:ea typeface="+mn-ea"/>
                <a:cs typeface="+mn-cs"/>
              </a:rPr>
              <a:t>**OR**</a:t>
            </a:r>
          </a:p>
          <a:p>
            <a:pPr marL="0" indent="0">
              <a:buNone/>
            </a:pPr>
            <a:r>
              <a:rPr lang="en-US" sz="900" kern="1200" dirty="0">
                <a:solidFill>
                  <a:schemeClr val="tx1"/>
                </a:solidFill>
                <a:effectLst/>
                <a:latin typeface="+mn-lt"/>
                <a:ea typeface="+mn-ea"/>
                <a:cs typeface="+mn-cs"/>
              </a:rPr>
              <a:t>1. On UI trigger an action </a:t>
            </a:r>
          </a:p>
          <a:p>
            <a:pPr marL="0" indent="0">
              <a:buNone/>
            </a:pPr>
            <a:r>
              <a:rPr lang="en-US" sz="900" kern="1200" dirty="0">
                <a:solidFill>
                  <a:schemeClr val="tx1"/>
                </a:solidFill>
                <a:effectLst/>
                <a:latin typeface="+mn-lt"/>
                <a:ea typeface="+mn-ea"/>
                <a:cs typeface="+mn-cs"/>
              </a:rPr>
              <a:t>2. Then on UI validate response of this action </a:t>
            </a:r>
          </a:p>
          <a:p>
            <a:pPr marL="0" indent="0">
              <a:buNone/>
            </a:pPr>
            <a:endParaRPr lang="en-US" sz="900" kern="1200" dirty="0">
              <a:solidFill>
                <a:schemeClr val="tx1"/>
              </a:solidFill>
              <a:effectLst/>
              <a:latin typeface="+mn-lt"/>
              <a:ea typeface="+mn-ea"/>
              <a:cs typeface="+mn-cs"/>
            </a:endParaRPr>
          </a:p>
          <a:p>
            <a:pPr marL="0" indent="0">
              <a:buNone/>
            </a:pPr>
            <a:endParaRPr lang="en-US" sz="900" kern="1200" dirty="0">
              <a:solidFill>
                <a:schemeClr val="tx1"/>
              </a:solidFill>
              <a:effectLst/>
              <a:latin typeface="+mn-lt"/>
              <a:ea typeface="+mn-ea"/>
              <a:cs typeface="+mn-cs"/>
            </a:endParaRPr>
          </a:p>
          <a:p>
            <a:pPr marL="0" indent="0">
              <a:buNone/>
            </a:pPr>
            <a:r>
              <a:rPr lang="en-US" sz="900" kern="1200" dirty="0">
                <a:solidFill>
                  <a:schemeClr val="tx1"/>
                </a:solidFill>
                <a:effectLst/>
                <a:latin typeface="+mn-lt"/>
                <a:ea typeface="+mn-ea"/>
                <a:cs typeface="+mn-cs"/>
              </a:rPr>
              <a:t>UI modules – Selenium, MobileApp, StandaloneApp</a:t>
            </a:r>
          </a:p>
          <a:p>
            <a:pPr marL="0" indent="0">
              <a:buNone/>
            </a:pPr>
            <a:r>
              <a:rPr lang="en-US" sz="900" kern="1200" dirty="0">
                <a:solidFill>
                  <a:schemeClr val="tx1"/>
                </a:solidFill>
                <a:effectLst/>
                <a:latin typeface="+mn-lt"/>
                <a:ea typeface="+mn-ea"/>
                <a:cs typeface="+mn-cs"/>
              </a:rPr>
              <a:t>API modules – WebAPI</a:t>
            </a:r>
          </a:p>
          <a:p>
            <a:pPr marL="0" indent="0">
              <a:buNone/>
            </a:pPr>
            <a:r>
              <a:rPr lang="en-US" sz="900" kern="1200" dirty="0">
                <a:solidFill>
                  <a:schemeClr val="tx1"/>
                </a:solidFill>
                <a:effectLst/>
                <a:latin typeface="+mn-lt"/>
                <a:ea typeface="+mn-ea"/>
                <a:cs typeface="+mn-cs"/>
              </a:rPr>
              <a:t>Backend modules - SQLdatabase</a:t>
            </a:r>
          </a:p>
          <a:p>
            <a:pPr marL="0" indent="0">
              <a:buNone/>
            </a:pPr>
            <a:endParaRPr lang="en-US" sz="900" kern="1200" dirty="0">
              <a:solidFill>
                <a:schemeClr val="tx1"/>
              </a:solidFill>
              <a:effectLst/>
              <a:latin typeface="+mn-lt"/>
              <a:ea typeface="+mn-ea"/>
              <a:cs typeface="+mn-cs"/>
            </a:endParaRPr>
          </a:p>
          <a:p>
            <a:pPr marL="0" indent="0">
              <a:buNone/>
            </a:pPr>
            <a:r>
              <a:rPr lang="en-US" sz="900" kern="1200" dirty="0">
                <a:solidFill>
                  <a:schemeClr val="tx1"/>
                </a:solidFill>
                <a:effectLst/>
                <a:latin typeface="+mn-lt"/>
                <a:ea typeface="+mn-ea"/>
                <a:cs typeface="+mn-cs"/>
              </a:rPr>
              <a:t>Security module – allows to create security test on UI and API. </a:t>
            </a:r>
          </a:p>
          <a:p>
            <a:pPr marL="0" indent="0">
              <a:buNone/>
            </a:pPr>
            <a:r>
              <a:rPr lang="en-US" sz="900" kern="1200" dirty="0">
                <a:solidFill>
                  <a:schemeClr val="tx1"/>
                </a:solidFill>
                <a:effectLst/>
                <a:latin typeface="+mn-lt"/>
                <a:ea typeface="+mn-ea"/>
                <a:cs typeface="+mn-cs"/>
              </a:rPr>
              <a:t>DevOps – this is fraction of DevOps, however it is „out of the box” infrastructure to execute test cases. Just as Selenium Grid, Jenkins.</a:t>
            </a:r>
          </a:p>
          <a:p>
            <a:pPr marL="0" indent="0">
              <a:buNone/>
            </a:pPr>
            <a:endParaRPr lang="en-US" sz="900" kern="1200" dirty="0">
              <a:solidFill>
                <a:schemeClr val="tx1"/>
              </a:solidFill>
              <a:effectLst/>
              <a:latin typeface="+mn-lt"/>
              <a:ea typeface="+mn-ea"/>
              <a:cs typeface="+mn-cs"/>
            </a:endParaRPr>
          </a:p>
          <a:p>
            <a:pPr marL="0" indent="0">
              <a:buNone/>
            </a:pPr>
            <a:r>
              <a:rPr lang="en-US" sz="900" kern="1200" dirty="0">
                <a:solidFill>
                  <a:schemeClr val="tx1"/>
                </a:solidFill>
                <a:effectLst/>
                <a:latin typeface="+mn-lt"/>
                <a:ea typeface="+mn-ea"/>
                <a:cs typeface="+mn-cs"/>
              </a:rPr>
              <a:t>Overall takeaway: </a:t>
            </a:r>
          </a:p>
          <a:p>
            <a:pPr marL="0" indent="0">
              <a:buNone/>
            </a:pPr>
            <a:r>
              <a:rPr lang="en-US" sz="900" kern="1200" dirty="0">
                <a:solidFill>
                  <a:schemeClr val="tx1"/>
                </a:solidFill>
                <a:effectLst/>
                <a:latin typeface="+mn-lt"/>
                <a:ea typeface="+mn-ea"/>
                <a:cs typeface="+mn-cs"/>
              </a:rPr>
              <a:t>In day 0 of a project – engineer write first test cases and plug in them to SDLC in the same day. </a:t>
            </a:r>
          </a:p>
          <a:p>
            <a:pPr marL="0" indent="0">
              <a:buNone/>
            </a:pPr>
            <a:endParaRPr lang="en-US" sz="900" kern="1200" dirty="0">
              <a:solidFill>
                <a:schemeClr val="tx1"/>
              </a:solidFill>
              <a:effectLst/>
              <a:latin typeface="+mn-lt"/>
              <a:ea typeface="+mn-ea"/>
              <a:cs typeface="+mn-cs"/>
            </a:endParaRPr>
          </a:p>
          <a:p>
            <a:r>
              <a:rPr lang="en-US" sz="900" kern="1200" dirty="0">
                <a:solidFill>
                  <a:schemeClr val="tx1"/>
                </a:solidFill>
                <a:effectLst/>
                <a:latin typeface="+mn-lt"/>
                <a:ea typeface="+mn-ea"/>
                <a:cs typeface="+mn-cs"/>
              </a:rPr>
              <a:t>Everything with tangible examples of how to build resilient and robust integration test cases. </a:t>
            </a:r>
          </a:p>
          <a:p>
            <a:r>
              <a:rPr lang="en-US" sz="900" kern="1200" dirty="0">
                <a:solidFill>
                  <a:schemeClr val="tx1"/>
                </a:solidFill>
                <a:effectLst/>
                <a:latin typeface="+mn-lt"/>
                <a:ea typeface="+mn-ea"/>
                <a:cs typeface="+mn-cs"/>
              </a:rPr>
              <a:t>Wrapped with experience taken from variety of IT projects. </a:t>
            </a:r>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dirty="0"/>
          </a:p>
        </p:txBody>
      </p:sp>
    </p:spTree>
    <p:extLst>
      <p:ext uri="{BB962C8B-B14F-4D97-AF65-F5344CB8AC3E}">
        <p14:creationId xmlns:p14="http://schemas.microsoft.com/office/powerpoint/2010/main" val="11232881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26780199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dirty="0"/>
              <a:t>Each test case in MrChecker can be build with all best test practices, such as: </a:t>
            </a:r>
          </a:p>
          <a:p>
            <a:pPr marL="171450" indent="-171450">
              <a:buFont typeface="Arial" panose="020B0604020202020204" pitchFamily="34" charset="0"/>
              <a:buChar char="•"/>
            </a:pPr>
            <a:r>
              <a:rPr lang="pl-PL" dirty="0"/>
              <a:t>Separtion test data from test logic -  write one test case and run it depedent on data inputs</a:t>
            </a:r>
          </a:p>
          <a:p>
            <a:pPr marL="171450" indent="-171450">
              <a:buFont typeface="Arial" panose="020B0604020202020204" pitchFamily="34" charset="0"/>
              <a:buChar char="•"/>
            </a:pPr>
            <a:r>
              <a:rPr lang="pl-PL" dirty="0"/>
              <a:t>How to decrease Test Suite time execution – parallel test execution.  Real life example, when we have reduced 3 month manual execution (460 h) to 3 hour automate parallel exectuion. </a:t>
            </a:r>
          </a:p>
          <a:p>
            <a:pPr marL="171450" indent="-171450">
              <a:buFont typeface="Arial" panose="020B0604020202020204" pitchFamily="34" charset="0"/>
              <a:buChar char="•"/>
            </a:pPr>
            <a:r>
              <a:rPr lang="pl-PL" dirty="0"/>
              <a:t>Run test on different application environment without changing test logic – One test case to fit all environments, it is doable. </a:t>
            </a:r>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19835689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image" Target="../media/image6.emf"/><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image" Target="../media/image2.emf"/><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tags" Target="../tags/tag27.xml"/><Relationship Id="rId11" Type="http://schemas.openxmlformats.org/officeDocument/2006/relationships/oleObject" Target="../embeddings/oleObject13.bin"/><Relationship Id="rId5" Type="http://schemas.openxmlformats.org/officeDocument/2006/relationships/tags" Target="../tags/tag26.xml"/><Relationship Id="rId10" Type="http://schemas.openxmlformats.org/officeDocument/2006/relationships/image" Target="../media/image5.jpeg"/><Relationship Id="rId4" Type="http://schemas.openxmlformats.org/officeDocument/2006/relationships/tags" Target="../tags/tag25.xml"/><Relationship Id="rId9" Type="http://schemas.openxmlformats.org/officeDocument/2006/relationships/slideMaster" Target="../slideMasters/slideMaster4.xml"/><Relationship Id="rId14" Type="http://schemas.openxmlformats.org/officeDocument/2006/relationships/image" Target="../media/image4.gif"/></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image" Target="../media/image6.emf"/><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image" Target="../media/image2.emf"/><Relationship Id="rId2" Type="http://schemas.openxmlformats.org/officeDocument/2006/relationships/tags" Target="../tags/tag30.xml"/><Relationship Id="rId1" Type="http://schemas.openxmlformats.org/officeDocument/2006/relationships/vmlDrawing" Target="../drawings/vmlDrawing14.vml"/><Relationship Id="rId6" Type="http://schemas.openxmlformats.org/officeDocument/2006/relationships/tags" Target="../tags/tag34.xml"/><Relationship Id="rId11" Type="http://schemas.openxmlformats.org/officeDocument/2006/relationships/oleObject" Target="../embeddings/oleObject14.bin"/><Relationship Id="rId5" Type="http://schemas.openxmlformats.org/officeDocument/2006/relationships/tags" Target="../tags/tag33.xml"/><Relationship Id="rId10" Type="http://schemas.openxmlformats.org/officeDocument/2006/relationships/image" Target="../media/image7.jpeg"/><Relationship Id="rId4" Type="http://schemas.openxmlformats.org/officeDocument/2006/relationships/tags" Target="../tags/tag32.xml"/><Relationship Id="rId9" Type="http://schemas.openxmlformats.org/officeDocument/2006/relationships/slideMaster" Target="../slideMasters/slideMaster4.xml"/><Relationship Id="rId14" Type="http://schemas.openxmlformats.org/officeDocument/2006/relationships/image" Target="../media/image4.gif"/></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2.emf"/><Relationship Id="rId2" Type="http://schemas.openxmlformats.org/officeDocument/2006/relationships/tags" Target="../tags/tag37.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image" Target="../media/image8.jpeg"/><Relationship Id="rId4"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2.emf"/><Relationship Id="rId2" Type="http://schemas.openxmlformats.org/officeDocument/2006/relationships/tags" Target="../tags/tag39.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9.jpeg"/><Relationship Id="rId4"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17.v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2.emf"/><Relationship Id="rId2" Type="http://schemas.openxmlformats.org/officeDocument/2006/relationships/tags" Target="../tags/tag44.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4.xml"/><Relationship Id="rId4" Type="http://schemas.openxmlformats.org/officeDocument/2006/relationships/tags" Target="../tags/tag46.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2.emf"/><Relationship Id="rId2" Type="http://schemas.openxmlformats.org/officeDocument/2006/relationships/tags" Target="../tags/tag47.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slideMaster" Target="../slideMasters/slideMaster4.xml"/><Relationship Id="rId4" Type="http://schemas.openxmlformats.org/officeDocument/2006/relationships/tags" Target="../tags/tag49.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vmlDrawing" Target="../drawings/vmlDrawing22.v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em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9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69"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2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4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dirty="0"/>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bg>
      <p:bgPr>
        <a:blipFill dpi="0" rotWithShape="1">
          <a:blip r:embed="rId2">
            <a:lum/>
          </a:blip>
          <a:srcRect/>
          <a:stretch>
            <a:fillRect t="-26000" b="-26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00514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l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970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607992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p:cNvPicPr>
            <a:picLocks noChangeAspect="1"/>
          </p:cNvPicPr>
          <p:nvPr userDrawn="1"/>
        </p:nvPicPr>
        <p:blipFill>
          <a:blip r:embed="rId10" cstate="print"/>
          <a:srcRect l="240" t="25" r="260" b="533"/>
          <a:stretch>
            <a:fillRect/>
          </a:stretch>
        </p:blipFill>
        <p:spPr>
          <a:xfrm>
            <a:off x="0" y="1324099"/>
            <a:ext cx="12192000" cy="5533901"/>
          </a:xfrm>
          <a:prstGeom prst="rect">
            <a:avLst/>
          </a:prstGeom>
        </p:spPr>
      </p:pic>
      <p:sp>
        <p:nvSpPr>
          <p:cNvPr id="18" name="Rectangle 17"/>
          <p:cNvSpPr/>
          <p:nvPr userDrawn="1">
            <p:custDataLst>
              <p:tags r:id="rId2"/>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sp>
        <p:nvSpPr>
          <p:cNvPr id="17" name="Rectangle 7"/>
          <p:cNvSpPr/>
          <p:nvPr userDrawn="1">
            <p:custDataLst>
              <p:tags r:id="rId3"/>
            </p:custDataLst>
          </p:nvPr>
        </p:nvSpPr>
        <p:spPr bwMode="auto">
          <a:xfrm>
            <a:off x="-2526" y="1"/>
            <a:ext cx="1219452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72729" name="think-cell Slide" r:id="rId11" imgW="360" imgH="360" progId="">
                  <p:embed/>
                </p:oleObj>
              </mc:Choice>
              <mc:Fallback>
                <p:oleObj name="think-cell Slide" r:id="rId11" imgW="360" imgH="360" progId="">
                  <p:embed/>
                  <p:pic>
                    <p:nvPicPr>
                      <p:cNvPr id="5" name="Object 4"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p:cNvPicPr>
            <a:picLocks noChangeAspect="1" noChangeArrowheads="1"/>
          </p:cNvPicPr>
          <p:nvPr userDrawn="1">
            <p:custDataLst>
              <p:tags r:id="rId5"/>
            </p:custDataLst>
          </p:nvPr>
        </p:nvPicPr>
        <p:blipFill>
          <a:blip r:embed="rId13" cstate="email"/>
          <a:srcRect/>
          <a:stretch>
            <a:fillRect/>
          </a:stretch>
        </p:blipFill>
        <p:spPr bwMode="auto">
          <a:xfrm>
            <a:off x="8085891" y="6520695"/>
            <a:ext cx="3694062" cy="239021"/>
          </a:xfrm>
          <a:prstGeom prst="rect">
            <a:avLst/>
          </a:prstGeom>
          <a:noFill/>
        </p:spPr>
      </p:pic>
      <p:sp>
        <p:nvSpPr>
          <p:cNvPr id="2" name="Title 1"/>
          <p:cNvSpPr>
            <a:spLocks noGrp="1"/>
          </p:cNvSpPr>
          <p:nvPr>
            <p:ph type="ctrTitle" hasCustomPrompt="1"/>
            <p:custDataLst>
              <p:tags r:id="rId6"/>
            </p:custDataLst>
          </p:nvPr>
        </p:nvSpPr>
        <p:spPr>
          <a:xfrm>
            <a:off x="1" y="2256613"/>
            <a:ext cx="5588533" cy="2261632"/>
          </a:xfrm>
        </p:spPr>
        <p:txBody>
          <a:bodyPr lIns="231412" tIns="33059" rIns="33059" bIns="33059"/>
          <a:lstStyle>
            <a:lvl1pPr algn="l">
              <a:defRPr sz="3300" b="0">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0" y="4551798"/>
            <a:ext cx="5589206" cy="947750"/>
          </a:xfrm>
          <a:prstGeom prst="rect">
            <a:avLst/>
          </a:prstGeo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1" name="Picture 10"/>
          <p:cNvPicPr>
            <a:picLocks noChangeAspect="1"/>
          </p:cNvPicPr>
          <p:nvPr userDrawn="1">
            <p:custDataLst>
              <p:tags r:id="rId8"/>
            </p:custDataLst>
          </p:nvPr>
        </p:nvPicPr>
        <p:blipFill>
          <a:blip r:embed="rId14" cstate="print"/>
          <a:stretch>
            <a:fillRect/>
          </a:stretch>
        </p:blipFill>
        <p:spPr>
          <a:xfrm>
            <a:off x="881518" y="653033"/>
            <a:ext cx="3695765" cy="694690"/>
          </a:xfrm>
          <a:prstGeom prst="rect">
            <a:avLst/>
          </a:prstGeom>
        </p:spPr>
      </p:pic>
    </p:spTree>
    <p:extLst>
      <p:ext uri="{BB962C8B-B14F-4D97-AF65-F5344CB8AC3E}">
        <p14:creationId xmlns:p14="http://schemas.microsoft.com/office/powerpoint/2010/main" val="31838008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p:cNvPicPr>
            <a:picLocks noChangeAspect="1"/>
          </p:cNvPicPr>
          <p:nvPr userDrawn="1"/>
        </p:nvPicPr>
        <p:blipFill>
          <a:blip r:embed="rId10" cstate="print"/>
          <a:srcRect l="240" t="179" r="380" b="511"/>
          <a:stretch>
            <a:fillRect/>
          </a:stretch>
        </p:blipFill>
        <p:spPr>
          <a:xfrm>
            <a:off x="0" y="1050622"/>
            <a:ext cx="12192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73753" name="think-cell Slide" r:id="rId11" imgW="360" imgH="360" progId="">
                  <p:embed/>
                </p:oleObj>
              </mc:Choice>
              <mc:Fallback>
                <p:oleObj name="think-cell Slide" r:id="rId11" imgW="360" imgH="360" progId="">
                  <p:embed/>
                  <p:pic>
                    <p:nvPicPr>
                      <p:cNvPr id="4" name="Object 3"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5527079" y="1968817"/>
            <a:ext cx="6664921"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17" name="Text Placeholder 8"/>
          <p:cNvSpPr>
            <a:spLocks noGrp="1"/>
          </p:cNvSpPr>
          <p:nvPr>
            <p:ph type="body" sz="quarter" idx="10" hasCustomPrompt="1"/>
            <p:custDataLst>
              <p:tags r:id="rId4"/>
            </p:custDataLst>
          </p:nvPr>
        </p:nvSpPr>
        <p:spPr>
          <a:xfrm>
            <a:off x="6568558" y="4609876"/>
            <a:ext cx="5623442" cy="1806302"/>
          </a:xfrm>
          <a:prstGeom prst="rect">
            <a:avLst/>
          </a:prstGeo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21" name="Rectangle 7"/>
          <p:cNvSpPr/>
          <p:nvPr userDrawn="1">
            <p:custDataLst>
              <p:tags r:id="rId5"/>
            </p:custDataLst>
          </p:nvPr>
        </p:nvSpPr>
        <p:spPr bwMode="auto">
          <a:xfrm>
            <a:off x="-2526" y="1"/>
            <a:ext cx="1219452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3" name="Rectangle 22"/>
          <p:cNvSpPr/>
          <p:nvPr userDrawn="1">
            <p:custDataLst>
              <p:tags r:id="rId6"/>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pic>
        <p:nvPicPr>
          <p:cNvPr id="24"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8085891" y="6520695"/>
            <a:ext cx="3694062" cy="239021"/>
          </a:xfrm>
          <a:prstGeom prst="rect">
            <a:avLst/>
          </a:prstGeom>
          <a:noFill/>
        </p:spPr>
      </p:pic>
      <p:pic>
        <p:nvPicPr>
          <p:cNvPr id="11" name="Picture 10"/>
          <p:cNvPicPr>
            <a:picLocks noChangeAspect="1"/>
          </p:cNvPicPr>
          <p:nvPr userDrawn="1">
            <p:custDataLst>
              <p:tags r:id="rId8"/>
            </p:custDataLst>
          </p:nvPr>
        </p:nvPicPr>
        <p:blipFill>
          <a:blip r:embed="rId14" cstate="print"/>
          <a:stretch>
            <a:fillRect/>
          </a:stretch>
        </p:blipFill>
        <p:spPr>
          <a:xfrm>
            <a:off x="881518" y="653033"/>
            <a:ext cx="3695765" cy="694690"/>
          </a:xfrm>
          <a:prstGeom prst="rect">
            <a:avLst/>
          </a:prstGeom>
        </p:spPr>
      </p:pic>
    </p:spTree>
    <p:extLst>
      <p:ext uri="{BB962C8B-B14F-4D97-AF65-F5344CB8AC3E}">
        <p14:creationId xmlns:p14="http://schemas.microsoft.com/office/powerpoint/2010/main" val="9134580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5" cstate="print"/>
          <a:srcRect l="120" t="188" r="380" b="564"/>
          <a:stretch>
            <a:fillRect/>
          </a:stretch>
        </p:blipFill>
        <p:spPr>
          <a:xfrm>
            <a:off x="0" y="0"/>
            <a:ext cx="12192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4777" name="think-cell Slide" r:id="rId6" imgW="360" imgH="360" progId="">
                  <p:embed/>
                </p:oleObj>
              </mc:Choice>
              <mc:Fallback>
                <p:oleObj name="think-cell Slide" r:id="rId6" imgW="360" imgH="360" progId="">
                  <p:embed/>
                  <p:pic>
                    <p:nvPicPr>
                      <p:cNvPr id="7" name="Object 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reeform 4"/>
          <p:cNvSpPr>
            <a:spLocks/>
          </p:cNvSpPr>
          <p:nvPr userDrawn="1">
            <p:custDataLst>
              <p:tags r:id="rId3"/>
            </p:custDataLst>
          </p:nvPr>
        </p:nvSpPr>
        <p:spPr bwMode="auto">
          <a:xfrm>
            <a:off x="3"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en-US" dirty="0"/>
              <a:t>Copyright © Capgemini 2014. All Rights Reserved</a:t>
            </a:r>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en-US" dirty="0"/>
              <a:t>E2E Test Framework for DevOps &amp; Smart Automation.pptx</a:t>
            </a:r>
            <a:endParaRPr lang="de-DE"/>
          </a:p>
        </p:txBody>
      </p:sp>
    </p:spTree>
    <p:extLst>
      <p:ext uri="{BB962C8B-B14F-4D97-AF65-F5344CB8AC3E}">
        <p14:creationId xmlns:p14="http://schemas.microsoft.com/office/powerpoint/2010/main" val="5673710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able of Content-Agenda touch">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5"/>
          <a:srcRect l="296" t="407" r="481" b="474"/>
          <a:stretch>
            <a:fillRect/>
          </a:stretch>
        </p:blipFill>
        <p:spPr>
          <a:xfrm>
            <a:off x="0" y="1"/>
            <a:ext cx="12192000" cy="6353297"/>
          </a:xfrm>
          <a:prstGeom prst="rect">
            <a:avLst/>
          </a:prstGeom>
          <a:ln>
            <a:noFill/>
          </a:ln>
        </p:spPr>
      </p:pic>
      <p:graphicFrame>
        <p:nvGraphicFramePr>
          <p:cNvPr id="7" name="Object 6"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5801" name="think-cell Slide" r:id="rId6" imgW="360" imgH="360" progId="">
                  <p:embed/>
                </p:oleObj>
              </mc:Choice>
              <mc:Fallback>
                <p:oleObj name="think-cell Slide" r:id="rId6" imgW="360" imgH="360" progId="">
                  <p:embed/>
                  <p:pic>
                    <p:nvPicPr>
                      <p:cNvPr id="7" name="Object 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reeform 4"/>
          <p:cNvSpPr>
            <a:spLocks/>
          </p:cNvSpPr>
          <p:nvPr userDrawn="1">
            <p:custDataLst>
              <p:tags r:id="rId3"/>
            </p:custDataLst>
          </p:nvPr>
        </p:nvSpPr>
        <p:spPr bwMode="auto">
          <a:xfrm>
            <a:off x="3"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en-US" dirty="0"/>
              <a:t>Copyright © Capgemini 2014. All Rights Reserved</a:t>
            </a:r>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en-US" dirty="0"/>
              <a:t>E2E Test Framework for DevOps &amp; Smart Automation.pptx</a:t>
            </a:r>
            <a:endParaRPr lang="de-DE"/>
          </a:p>
        </p:txBody>
      </p:sp>
    </p:spTree>
    <p:extLst>
      <p:ext uri="{BB962C8B-B14F-4D97-AF65-F5344CB8AC3E}">
        <p14:creationId xmlns:p14="http://schemas.microsoft.com/office/powerpoint/2010/main" val="17806871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able of Content-Agenda no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6825" name="think-cell Slide" r:id="rId4" imgW="360" imgH="360" progId="">
                  <p:embed/>
                </p:oleObj>
              </mc:Choice>
              <mc:Fallback>
                <p:oleObj name="think-cell Slide" r:id="rId4" imgW="360" imgH="360"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en-US" dirty="0"/>
              <a:t>Copyright © Capgemini 2014. All Rights Reserved</a:t>
            </a:r>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en-US" dirty="0"/>
              <a:t>E2E Test Framework for DevOps &amp; Smart Automation.pptx</a:t>
            </a:r>
            <a:endParaRPr lang="de-DE"/>
          </a:p>
        </p:txBody>
      </p:sp>
    </p:spTree>
    <p:extLst>
      <p:ext uri="{BB962C8B-B14F-4D97-AF65-F5344CB8AC3E}">
        <p14:creationId xmlns:p14="http://schemas.microsoft.com/office/powerpoint/2010/main" val="34344431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8" cy="143985"/>
        </p:xfrm>
        <a:graphic>
          <a:graphicData uri="http://schemas.openxmlformats.org/presentationml/2006/ole">
            <mc:AlternateContent xmlns:mc="http://schemas.openxmlformats.org/markup-compatibility/2006">
              <mc:Choice xmlns:v="urn:schemas-microsoft-com:vml" Requires="v">
                <p:oleObj spid="_x0000_s77849"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5" name="Date Placeholder 4"/>
          <p:cNvSpPr>
            <a:spLocks noGrp="1"/>
          </p:cNvSpPr>
          <p:nvPr>
            <p:ph type="dt" sz="half" idx="10"/>
          </p:nvPr>
        </p:nvSpPr>
        <p:spPr/>
        <p:txBody>
          <a:bodyPr/>
          <a:lstStyle/>
          <a:p>
            <a:pPr defTabSz="995445" eaLnBrk="0" hangingPunct="0">
              <a:lnSpc>
                <a:spcPct val="90000"/>
              </a:lnSpc>
              <a:spcBef>
                <a:spcPct val="10000"/>
              </a:spcBef>
              <a:defRPr/>
            </a:pPr>
            <a:r>
              <a:rPr lang="en-US" dirty="0"/>
              <a:t>Copyright © Capgemini 2014. All Rights Reserved</a:t>
            </a:r>
          </a:p>
        </p:txBody>
      </p:sp>
      <p:sp>
        <p:nvSpPr>
          <p:cNvPr id="6" name="Slide Number Placeholder 5"/>
          <p:cNvSpPr>
            <a:spLocks noGrp="1"/>
          </p:cNvSpPr>
          <p:nvPr>
            <p:ph type="sldNum" sz="quarter" idx="11"/>
          </p:nvPr>
        </p:nvSpPr>
        <p:spPr/>
        <p:txBody>
          <a:bodyPr/>
          <a:lstStyle/>
          <a:p>
            <a:fld id="{880BADDE-CEDF-4108-ADCD-25C7E5D681A5}" type="slidenum">
              <a:rPr lang="de-DE" smtClean="0"/>
              <a:pPr/>
              <a:t>‹#›</a:t>
            </a:fld>
            <a:endParaRPr lang="de-DE"/>
          </a:p>
        </p:txBody>
      </p:sp>
      <p:sp>
        <p:nvSpPr>
          <p:cNvPr id="7" name="Footer Placeholder 6"/>
          <p:cNvSpPr>
            <a:spLocks noGrp="1"/>
          </p:cNvSpPr>
          <p:nvPr>
            <p:ph type="ftr" sz="quarter" idx="12"/>
          </p:nvPr>
        </p:nvSpPr>
        <p:spPr/>
        <p:txBody>
          <a:bodyPr/>
          <a:lstStyle/>
          <a:p>
            <a:r>
              <a:rPr lang="en-US" dirty="0"/>
              <a:t>E2E Test Framework for DevOps &amp; Smart Automation.pptx</a:t>
            </a:r>
            <a:endParaRPr lang="de-DE" dirty="0"/>
          </a:p>
        </p:txBody>
      </p:sp>
      <p:sp>
        <p:nvSpPr>
          <p:cNvPr id="9" name="Content Placeholder 8"/>
          <p:cNvSpPr>
            <a:spLocks noGrp="1"/>
          </p:cNvSpPr>
          <p:nvPr>
            <p:ph sz="quarter" idx="13"/>
          </p:nvPr>
        </p:nvSpPr>
        <p:spPr>
          <a:xfrm>
            <a:off x="336062" y="1501978"/>
            <a:ext cx="11519877" cy="4636539"/>
          </a:xfrm>
        </p:spPr>
        <p:txBody>
          <a:bodyPr/>
          <a:lstStyle>
            <a:lvl2pPr marL="180975" indent="-180975">
              <a:defRPr/>
            </a:lvl2pPr>
            <a:lvl3pPr marL="361950" indent="-177800">
              <a:tabLst/>
              <a:defRPr/>
            </a:lvl3pPr>
            <a:lvl4pPr marL="542925" indent="-180975">
              <a:defRPr/>
            </a:lvl4pPr>
            <a:lvl5pPr marL="714375" indent="-171450" defTabSz="804863">
              <a:defRPr/>
            </a:lvl5pPr>
            <a:lvl6pPr marL="896938" indent="-179388">
              <a:tabLst/>
              <a:defRPr/>
            </a:lvl6pPr>
            <a:lvl7pPr marL="1079500" indent="-180975">
              <a:tabLst/>
              <a:defRPr/>
            </a:lvl7pPr>
            <a:lvl8pPr marL="1255713" indent="-176213">
              <a:buFont typeface="Symbol" pitchFamily="18" charset="2"/>
              <a:buChar char="-"/>
              <a:defRPr/>
            </a:lvl8pPr>
            <a:lvl9pPr marL="1431925" indent="-174625">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13047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ontent_Subtitle_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8" cy="143985"/>
        </p:xfrm>
        <a:graphic>
          <a:graphicData uri="http://schemas.openxmlformats.org/presentationml/2006/ole">
            <mc:AlternateContent xmlns:mc="http://schemas.openxmlformats.org/markup-compatibility/2006">
              <mc:Choice xmlns:v="urn:schemas-microsoft-com:vml" Requires="v">
                <p:oleObj spid="_x0000_s7887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8" name="Espace réservé du texte 7"/>
          <p:cNvSpPr>
            <a:spLocks noGrp="1"/>
          </p:cNvSpPr>
          <p:nvPr>
            <p:ph type="body" sz="quarter" idx="11" hasCustomPrompt="1"/>
            <p:custDataLst>
              <p:tags r:id="rId4"/>
            </p:custDataLst>
          </p:nvPr>
        </p:nvSpPr>
        <p:spPr>
          <a:xfrm>
            <a:off x="336062" y="1412721"/>
            <a:ext cx="11519877"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en-US" dirty="0"/>
              <a:t>Copyright © Capgemini 2014. All Rights Reserved</a:t>
            </a:r>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en-US" dirty="0"/>
              <a:t>E2E Test Framework for DevOps &amp; Smart Automation.pptx</a:t>
            </a:r>
            <a:endParaRPr lang="de-DE" dirty="0"/>
          </a:p>
        </p:txBody>
      </p:sp>
      <p:sp>
        <p:nvSpPr>
          <p:cNvPr id="11" name="Content Placeholder 10"/>
          <p:cNvSpPr>
            <a:spLocks noGrp="1"/>
          </p:cNvSpPr>
          <p:nvPr>
            <p:ph sz="quarter" idx="15"/>
          </p:nvPr>
        </p:nvSpPr>
        <p:spPr>
          <a:xfrm>
            <a:off x="336062" y="1772771"/>
            <a:ext cx="11519877" cy="4464620"/>
          </a:xfrm>
        </p:spPr>
        <p:txBody>
          <a:bodyPr/>
          <a:lstStyle>
            <a:lvl4pPr marL="542925" indent="-180975">
              <a:defRPr/>
            </a:lvl4pPr>
            <a:lvl5pPr marL="714375" indent="-171450">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4690145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Heading_Sub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8" cy="143985"/>
        </p:xfrm>
        <a:graphic>
          <a:graphicData uri="http://schemas.openxmlformats.org/presentationml/2006/ole">
            <mc:AlternateContent xmlns:mc="http://schemas.openxmlformats.org/markup-compatibility/2006">
              <mc:Choice xmlns:v="urn:schemas-microsoft-com:vml" Requires="v">
                <p:oleObj spid="_x0000_s7989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8" name="Espace réservé du texte 7"/>
          <p:cNvSpPr>
            <a:spLocks noGrp="1"/>
          </p:cNvSpPr>
          <p:nvPr>
            <p:ph type="body" sz="quarter" idx="11" hasCustomPrompt="1"/>
            <p:custDataLst>
              <p:tags r:id="rId4"/>
            </p:custDataLst>
          </p:nvPr>
        </p:nvSpPr>
        <p:spPr>
          <a:xfrm>
            <a:off x="336062" y="1412721"/>
            <a:ext cx="11519877"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en-US" dirty="0"/>
              <a:t>Copyright © Capgemini 2014. All Rights Reserved</a:t>
            </a:r>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en-US" dirty="0"/>
              <a:t>E2E Test Framework for DevOps &amp; Smart Automation.pptx</a:t>
            </a:r>
            <a:endParaRPr lang="de-DE" dirty="0"/>
          </a:p>
        </p:txBody>
      </p:sp>
    </p:spTree>
    <p:extLst>
      <p:ext uri="{BB962C8B-B14F-4D97-AF65-F5344CB8AC3E}">
        <p14:creationId xmlns:p14="http://schemas.microsoft.com/office/powerpoint/2010/main" val="26910725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0921"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Date Placeholder 3"/>
          <p:cNvSpPr>
            <a:spLocks noGrp="1"/>
          </p:cNvSpPr>
          <p:nvPr>
            <p:ph type="dt" sz="half" idx="10"/>
          </p:nvPr>
        </p:nvSpPr>
        <p:spPr/>
        <p:txBody>
          <a:bodyPr/>
          <a:lstStyle/>
          <a:p>
            <a:pPr defTabSz="995445" eaLnBrk="0" hangingPunct="0">
              <a:lnSpc>
                <a:spcPct val="90000"/>
              </a:lnSpc>
              <a:spcBef>
                <a:spcPct val="10000"/>
              </a:spcBef>
              <a:defRPr/>
            </a:pPr>
            <a:r>
              <a:rPr lang="en-US" dirty="0"/>
              <a:t>Copyright © Capgemini 2014. All Rights Reserved</a:t>
            </a:r>
          </a:p>
        </p:txBody>
      </p:sp>
      <p:sp>
        <p:nvSpPr>
          <p:cNvPr id="5" name="Slide Number Placeholder 4"/>
          <p:cNvSpPr>
            <a:spLocks noGrp="1"/>
          </p:cNvSpPr>
          <p:nvPr>
            <p:ph type="sldNum" sz="quarter" idx="11"/>
          </p:nvPr>
        </p:nvSpPr>
        <p:spPr/>
        <p:txBody>
          <a:bodyPr/>
          <a:lstStyle/>
          <a:p>
            <a:fld id="{880BADDE-CEDF-4108-ADCD-25C7E5D681A5}" type="slidenum">
              <a:rPr lang="de-DE" smtClean="0"/>
              <a:pPr/>
              <a:t>‹#›</a:t>
            </a:fld>
            <a:endParaRPr lang="de-DE"/>
          </a:p>
        </p:txBody>
      </p:sp>
      <p:sp>
        <p:nvSpPr>
          <p:cNvPr id="6" name="Footer Placeholder 5"/>
          <p:cNvSpPr>
            <a:spLocks noGrp="1"/>
          </p:cNvSpPr>
          <p:nvPr>
            <p:ph type="ftr" sz="quarter" idx="12"/>
          </p:nvPr>
        </p:nvSpPr>
        <p:spPr/>
        <p:txBody>
          <a:bodyPr/>
          <a:lstStyle/>
          <a:p>
            <a:r>
              <a:rPr lang="en-US" dirty="0"/>
              <a:t>E2E Test Framework for DevOps &amp; Smart Automation.pptx</a:t>
            </a:r>
            <a:endParaRPr lang="de-DE" dirty="0"/>
          </a:p>
        </p:txBody>
      </p:sp>
    </p:spTree>
    <p:extLst>
      <p:ext uri="{BB962C8B-B14F-4D97-AF65-F5344CB8AC3E}">
        <p14:creationId xmlns:p14="http://schemas.microsoft.com/office/powerpoint/2010/main" val="19845510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8" cy="143985"/>
        </p:xfrm>
        <a:graphic>
          <a:graphicData uri="http://schemas.openxmlformats.org/presentationml/2006/ole">
            <mc:AlternateContent xmlns:mc="http://schemas.openxmlformats.org/markup-compatibility/2006">
              <mc:Choice xmlns:v="urn:schemas-microsoft-com:vml" Requires="v">
                <p:oleObj spid="_x0000_s81945"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446455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297639" y="6427223"/>
            <a:ext cx="3274638" cy="195814"/>
          </a:xfrm>
          <a:prstGeom prst="rect">
            <a:avLst/>
          </a:prstGeom>
        </p:spPr>
        <p:txBody>
          <a:bodyPr/>
          <a:lstStyle/>
          <a:p>
            <a:r>
              <a:rPr lang="de-DE"/>
              <a:t>Copyright © Capgemini 2014. All Rights Reserved</a:t>
            </a:r>
            <a:endParaRPr lang="en-US" dirty="0"/>
          </a:p>
        </p:txBody>
      </p:sp>
      <p:sp>
        <p:nvSpPr>
          <p:cNvPr id="5" name="Footer Placeholder 4"/>
          <p:cNvSpPr>
            <a:spLocks noGrp="1"/>
          </p:cNvSpPr>
          <p:nvPr>
            <p:ph type="ftr" sz="quarter" idx="11"/>
          </p:nvPr>
        </p:nvSpPr>
        <p:spPr>
          <a:xfrm>
            <a:off x="8297639" y="6623402"/>
            <a:ext cx="3274638" cy="183502"/>
          </a:xfrm>
          <a:prstGeom prst="rect">
            <a:avLst/>
          </a:prstGeom>
        </p:spPr>
        <p:txBody>
          <a:bodyPr/>
          <a:lstStyle/>
          <a:p>
            <a:r>
              <a:rPr lang="en-US" dirty="0"/>
              <a:t>E2E Test Framework for DevOps &amp; Smart Automation.pptx</a:t>
            </a:r>
          </a:p>
        </p:txBody>
      </p:sp>
      <p:sp>
        <p:nvSpPr>
          <p:cNvPr id="6" name="Slide Number Placeholder 5"/>
          <p:cNvSpPr>
            <a:spLocks noGrp="1"/>
          </p:cNvSpPr>
          <p:nvPr>
            <p:ph type="sldNum" sz="quarter" idx="12"/>
          </p:nvPr>
        </p:nvSpPr>
        <p:spPr>
          <a:xfrm>
            <a:off x="11780922" y="6653997"/>
            <a:ext cx="125034" cy="123111"/>
          </a:xfrm>
          <a:prstGeom prst="rect">
            <a:avLst/>
          </a:prstGeom>
        </p:spPr>
        <p:txBody>
          <a:bodyPr/>
          <a:lstStyle/>
          <a:p>
            <a:fld id="{C6335B9B-6596-4424-8C92-49633734BE40}" type="slidenum">
              <a:rPr lang="en-US" smtClean="0"/>
              <a:pPr/>
              <a:t>‹#›</a:t>
            </a:fld>
            <a:endParaRPr lang="en-US" dirty="0"/>
          </a:p>
        </p:txBody>
      </p:sp>
    </p:spTree>
    <p:extLst>
      <p:ext uri="{BB962C8B-B14F-4D97-AF65-F5344CB8AC3E}">
        <p14:creationId xmlns:p14="http://schemas.microsoft.com/office/powerpoint/2010/main" val="20828717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603"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1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9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Heading_Sub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8" cy="143985"/>
        </p:xfrm>
        <a:graphic>
          <a:graphicData uri="http://schemas.openxmlformats.org/presentationml/2006/ole">
            <mc:AlternateContent xmlns:mc="http://schemas.openxmlformats.org/markup-compatibility/2006">
              <mc:Choice xmlns:v="urn:schemas-microsoft-com:vml" Requires="v">
                <p:oleObj spid="_x0000_s6663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8" name="Espace réservé du texte 7"/>
          <p:cNvSpPr>
            <a:spLocks noGrp="1"/>
          </p:cNvSpPr>
          <p:nvPr>
            <p:ph type="body" sz="quarter" idx="11" hasCustomPrompt="1"/>
            <p:custDataLst>
              <p:tags r:id="rId4"/>
            </p:custDataLst>
          </p:nvPr>
        </p:nvSpPr>
        <p:spPr>
          <a:xfrm>
            <a:off x="336062" y="1412721"/>
            <a:ext cx="11519877" cy="193899"/>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6" name="Date Placeholder 5"/>
          <p:cNvSpPr>
            <a:spLocks noGrp="1"/>
          </p:cNvSpPr>
          <p:nvPr>
            <p:ph type="dt" sz="half" idx="12"/>
          </p:nvPr>
        </p:nvSpPr>
        <p:spPr>
          <a:xfrm>
            <a:off x="8297639" y="6427223"/>
            <a:ext cx="3274638" cy="195814"/>
          </a:xfrm>
          <a:prstGeom prst="rect">
            <a:avLst/>
          </a:prstGeom>
        </p:spPr>
        <p:txBody>
          <a:bodyPr/>
          <a:lstStyle/>
          <a:p>
            <a:pPr defTabSz="995445" eaLnBrk="0" hangingPunct="0">
              <a:lnSpc>
                <a:spcPct val="90000"/>
              </a:lnSpc>
              <a:spcBef>
                <a:spcPct val="10000"/>
              </a:spcBef>
              <a:defRPr/>
            </a:pPr>
            <a:endParaRPr lang="de-DE" dirty="0"/>
          </a:p>
        </p:txBody>
      </p:sp>
      <p:sp>
        <p:nvSpPr>
          <p:cNvPr id="7" name="Slide Number Placeholder 6"/>
          <p:cNvSpPr>
            <a:spLocks noGrp="1"/>
          </p:cNvSpPr>
          <p:nvPr>
            <p:ph type="sldNum" sz="quarter" idx="13"/>
          </p:nvPr>
        </p:nvSpPr>
        <p:spPr>
          <a:xfrm>
            <a:off x="11766495" y="6653997"/>
            <a:ext cx="153888" cy="123111"/>
          </a:xfrm>
          <a:prstGeom prst="rect">
            <a:avLst/>
          </a:prstGeom>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a:xfrm>
            <a:off x="8297639" y="6623402"/>
            <a:ext cx="3274638" cy="183502"/>
          </a:xfrm>
          <a:prstGeom prst="rect">
            <a:avLst/>
          </a:prstGeom>
        </p:spPr>
        <p:txBody>
          <a:bodyPr/>
          <a:lstStyle/>
          <a:p>
            <a:endParaRPr lang="de-DE" dirty="0"/>
          </a:p>
        </p:txBody>
      </p:sp>
    </p:spTree>
    <p:extLst>
      <p:ext uri="{BB962C8B-B14F-4D97-AF65-F5344CB8AC3E}">
        <p14:creationId xmlns:p14="http://schemas.microsoft.com/office/powerpoint/2010/main" val="27025870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12.xml"/><Relationship Id="rId7" Type="http://schemas.openxmlformats.org/officeDocument/2006/relationships/tags" Target="../tags/tag9.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vmlDrawing" Target="../drawings/vmlDrawing6.vml"/><Relationship Id="rId5"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vmlDrawing" Target="../drawings/vmlDrawing12.vml"/><Relationship Id="rId18" Type="http://schemas.openxmlformats.org/officeDocument/2006/relationships/tags" Target="../tags/tag19.xml"/><Relationship Id="rId3" Type="http://schemas.openxmlformats.org/officeDocument/2006/relationships/slideLayout" Target="../slideLayouts/slideLayout18.xml"/><Relationship Id="rId21" Type="http://schemas.openxmlformats.org/officeDocument/2006/relationships/tags" Target="../tags/tag22.xml"/><Relationship Id="rId7" Type="http://schemas.openxmlformats.org/officeDocument/2006/relationships/slideLayout" Target="../slideLayouts/slideLayout22.xml"/><Relationship Id="rId12" Type="http://schemas.openxmlformats.org/officeDocument/2006/relationships/theme" Target="../theme/theme4.xml"/><Relationship Id="rId17" Type="http://schemas.openxmlformats.org/officeDocument/2006/relationships/tags" Target="../tags/tag18.xml"/><Relationship Id="rId2" Type="http://schemas.openxmlformats.org/officeDocument/2006/relationships/slideLayout" Target="../slideLayouts/slideLayout17.xml"/><Relationship Id="rId16" Type="http://schemas.openxmlformats.org/officeDocument/2006/relationships/tags" Target="../tags/tag17.xml"/><Relationship Id="rId20" Type="http://schemas.openxmlformats.org/officeDocument/2006/relationships/tags" Target="../tags/tag2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image" Target="../media/image4.gif"/><Relationship Id="rId5" Type="http://schemas.openxmlformats.org/officeDocument/2006/relationships/slideLayout" Target="../slideLayouts/slideLayout20.xml"/><Relationship Id="rId15" Type="http://schemas.openxmlformats.org/officeDocument/2006/relationships/tags" Target="../tags/tag16.xml"/><Relationship Id="rId23" Type="http://schemas.openxmlformats.org/officeDocument/2006/relationships/image" Target="../media/image2.emf"/><Relationship Id="rId10" Type="http://schemas.openxmlformats.org/officeDocument/2006/relationships/slideLayout" Target="../slideLayouts/slideLayout25.xml"/><Relationship Id="rId19" Type="http://schemas.openxmlformats.org/officeDocument/2006/relationships/tags" Target="../tags/tag20.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ags" Target="../tags/tag15.xml"/><Relationship Id="rId22" Type="http://schemas.openxmlformats.org/officeDocument/2006/relationships/oleObject" Target="../embeddings/oleObject1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99" name="think-cell Slide" r:id="rId13" imgW="270" imgH="270" progId="TCLayout.ActiveDocument.1">
                  <p:embed/>
                </p:oleObj>
              </mc:Choice>
              <mc:Fallback>
                <p:oleObj name="think-cell Slide" r:id="rId13" imgW="270" imgH="270" progId="TCLayout.ActiveDocument.1">
                  <p:embed/>
                  <p:pic>
                    <p:nvPicPr>
                      <p:cNvPr id="0" name="Picture 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 id="2147483878" r:id="rId9"/>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75"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latin typeface="Verdana" panose="020B0604030504040204" pitchFamily="34" charset="0"/>
                <a:ea typeface="Verdana" panose="020B0604030504040204" pitchFamily="34" charset="0"/>
                <a:cs typeface="Verdana" panose="020B0604030504040204" pitchFamily="34" charset="0"/>
              </a:rPr>
              <a:pPr algn="r"/>
              <a:t>‹#›</a:t>
            </a:fld>
            <a:endParaRPr lang="en-US" sz="800" dirty="0">
              <a:solidFill>
                <a:schemeClr val="bg1">
                  <a:lumMod val="6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latin typeface="Verdana" panose="020B0604030504040204" pitchFamily="34" charset="0"/>
                <a:ea typeface="Verdana" panose="020B0604030504040204" pitchFamily="34" charset="0"/>
                <a:cs typeface="Verdana" panose="020B0604030504040204" pitchFamily="34" charset="0"/>
              </a:rPr>
              <a:t>© Capgemini 2018. All rights reserved  </a:t>
            </a:r>
            <a:r>
              <a:rPr lang="en-US" dirty="0">
                <a:solidFill>
                  <a:schemeClr val="accent2"/>
                </a:solidFill>
                <a:latin typeface="Verdana" panose="020B0604030504040204" pitchFamily="34" charset="0"/>
                <a:ea typeface="Verdana" panose="020B0604030504040204" pitchFamily="34" charset="0"/>
                <a:cs typeface="Verdana" panose="020B0604030504040204" pitchFamily="34" charset="0"/>
              </a:rPr>
              <a:t>|</a:t>
            </a:r>
          </a:p>
        </p:txBody>
      </p:sp>
    </p:spTree>
    <p:extLst>
      <p:ext uri="{BB962C8B-B14F-4D97-AF65-F5344CB8AC3E}">
        <p14:creationId xmlns:p14="http://schemas.microsoft.com/office/powerpoint/2010/main" val="3383097470"/>
      </p:ext>
    </p:extLst>
  </p:cSld>
  <p:clrMap bg1="lt1" tx1="dk1" bg2="lt2" tx2="dk2" accent1="accent1" accent2="accent2" accent3="accent3" accent4="accent4" accent5="accent5" accent6="accent6" hlink="hlink" folHlink="folHlink"/>
  <p:sldLayoutIdLst>
    <p:sldLayoutId id="2147483881" r:id="rId1"/>
    <p:sldLayoutId id="2147483882" r:id="rId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71705" name="think-cell Slide" r:id="rId22" imgW="360" imgH="360" progId="">
                  <p:embed/>
                </p:oleObj>
              </mc:Choice>
              <mc:Fallback>
                <p:oleObj name="think-cell Slide" r:id="rId22" imgW="360" imgH="360" progId="">
                  <p:embed/>
                  <p:pic>
                    <p:nvPicPr>
                      <p:cNvPr id="8" name="Object 7"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1" name="Picture 20"/>
          <p:cNvPicPr>
            <a:picLocks noChangeAspect="1"/>
          </p:cNvPicPr>
          <p:nvPr>
            <p:custDataLst>
              <p:tags r:id="rId15"/>
            </p:custDataLst>
          </p:nvPr>
        </p:nvPicPr>
        <p:blipFill>
          <a:blip r:embed="rId24" cstate="print"/>
          <a:stretch>
            <a:fillRect/>
          </a:stretch>
        </p:blipFill>
        <p:spPr>
          <a:xfrm>
            <a:off x="195654" y="6443186"/>
            <a:ext cx="1706036" cy="320682"/>
          </a:xfrm>
          <a:prstGeom prst="rect">
            <a:avLst/>
          </a:prstGeom>
        </p:spPr>
      </p:pic>
      <p:sp>
        <p:nvSpPr>
          <p:cNvPr id="2" name="Title Placeholder 1"/>
          <p:cNvSpPr>
            <a:spLocks noGrp="1"/>
          </p:cNvSpPr>
          <p:nvPr>
            <p:ph type="title"/>
            <p:custDataLst>
              <p:tags r:id="rId16"/>
            </p:custDataLst>
          </p:nvPr>
        </p:nvSpPr>
        <p:spPr>
          <a:xfrm>
            <a:off x="2" y="1"/>
            <a:ext cx="12191999" cy="1002135"/>
          </a:xfrm>
          <a:prstGeom prst="rect">
            <a:avLst/>
          </a:prstGeom>
        </p:spPr>
        <p:txBody>
          <a:bodyPr vert="horz" lIns="297529" tIns="33059" rIns="165294" bIns="33059" rtlCol="0" anchor="ctr">
            <a:noAutofit/>
          </a:bodyPr>
          <a:lstStyle/>
          <a:p>
            <a:r>
              <a:rPr lang="en-US" noProof="0"/>
              <a:t>Click to edit Master title style</a:t>
            </a:r>
            <a:endParaRPr lang="en-US" noProof="0" dirty="0"/>
          </a:p>
        </p:txBody>
      </p:sp>
      <p:sp>
        <p:nvSpPr>
          <p:cNvPr id="9" name="Freeform 4"/>
          <p:cNvSpPr>
            <a:spLocks/>
          </p:cNvSpPr>
          <p:nvPr>
            <p:custDataLst>
              <p:tags r:id="rId17"/>
            </p:custDataLst>
          </p:nvPr>
        </p:nvSpPr>
        <p:spPr bwMode="auto">
          <a:xfrm>
            <a:off x="3"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dirty="0"/>
          </a:p>
        </p:txBody>
      </p:sp>
      <p:cxnSp>
        <p:nvCxnSpPr>
          <p:cNvPr id="15" name="Straight Connector 5"/>
          <p:cNvCxnSpPr/>
          <p:nvPr>
            <p:custDataLst>
              <p:tags r:id="rId18"/>
            </p:custDataLst>
          </p:nvPr>
        </p:nvCxnSpPr>
        <p:spPr>
          <a:xfrm flipH="1">
            <a:off x="3"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15"/>
          <p:cNvSpPr>
            <a:spLocks noGrp="1"/>
          </p:cNvSpPr>
          <p:nvPr>
            <p:ph type="dt" sz="half" idx="2"/>
            <p:custDataLst>
              <p:tags r:id="rId19"/>
            </p:custDataLst>
          </p:nvPr>
        </p:nvSpPr>
        <p:spPr>
          <a:xfrm>
            <a:off x="8297639" y="6427223"/>
            <a:ext cx="3274638" cy="195814"/>
          </a:xfrm>
          <a:prstGeom prst="rect">
            <a:avLst/>
          </a:prstGeom>
          <a:noFill/>
          <a:ln w="19050">
            <a:noFill/>
            <a:miter lim="800000"/>
            <a:headEnd/>
            <a:tailEnd/>
          </a:ln>
          <a:effectLst/>
        </p:spPr>
        <p:txBody>
          <a:bodyPr wrap="none" lIns="35997" tIns="35997" rIns="35997" bIns="35997" anchor="b" anchorCtr="0">
            <a:noAutofit/>
          </a:bodyPr>
          <a:lstStyle>
            <a:lvl1pPr marL="0" algn="r" defTabSz="957756" rtl="0" eaLnBrk="1" latinLnBrk="0" hangingPunct="1">
              <a:defRPr lang="de-DE" altLang="en-US" sz="700" b="0" i="0" kern="1200" noProof="0" smtClean="0">
                <a:solidFill>
                  <a:schemeClr val="tx1">
                    <a:lumMod val="50000"/>
                    <a:lumOff val="50000"/>
                  </a:schemeClr>
                </a:solidFill>
                <a:latin typeface="+mj-lt"/>
                <a:ea typeface="+mn-ea"/>
                <a:cs typeface="Helvetica Light"/>
              </a:defRPr>
            </a:lvl1pPr>
          </a:lstStyle>
          <a:p>
            <a:pPr defTabSz="995445" eaLnBrk="0" hangingPunct="0">
              <a:lnSpc>
                <a:spcPct val="90000"/>
              </a:lnSpc>
              <a:spcBef>
                <a:spcPct val="10000"/>
              </a:spcBef>
              <a:defRPr/>
            </a:pPr>
            <a:r>
              <a:rPr lang="en-US" dirty="0"/>
              <a:t>Copyright © Capgemini 2014. All Rights Reserved</a:t>
            </a:r>
          </a:p>
        </p:txBody>
      </p:sp>
      <p:sp>
        <p:nvSpPr>
          <p:cNvPr id="17" name="Footer Placeholder 16"/>
          <p:cNvSpPr>
            <a:spLocks noGrp="1"/>
          </p:cNvSpPr>
          <p:nvPr>
            <p:ph type="ftr" sz="quarter" idx="3"/>
            <p:custDataLst>
              <p:tags r:id="rId20"/>
            </p:custDataLst>
          </p:nvPr>
        </p:nvSpPr>
        <p:spPr>
          <a:xfrm>
            <a:off x="8297639" y="6623402"/>
            <a:ext cx="3274638" cy="183502"/>
          </a:xfrm>
          <a:prstGeom prst="rect">
            <a:avLst/>
          </a:prstGeom>
        </p:spPr>
        <p:txBody>
          <a:bodyPr wrap="none" lIns="35997" tIns="35997" rIns="35997" bIns="35997" anchor="b" anchorCtr="0">
            <a:noAutofit/>
          </a:bodyPr>
          <a:lstStyle>
            <a:lvl1pPr marL="0" algn="r" defTabSz="957756" rtl="0" eaLnBrk="1" latinLnBrk="0" hangingPunct="1">
              <a:defRPr lang="de-DE" sz="700" kern="1200" dirty="0" smtClean="0">
                <a:solidFill>
                  <a:schemeClr val="tx1">
                    <a:lumMod val="50000"/>
                    <a:lumOff val="50000"/>
                  </a:schemeClr>
                </a:solidFill>
                <a:latin typeface="+mj-lt"/>
                <a:ea typeface="+mn-ea"/>
                <a:cs typeface="+mn-cs"/>
              </a:defRPr>
            </a:lvl1pPr>
          </a:lstStyle>
          <a:p>
            <a:r>
              <a:rPr lang="en-US" dirty="0"/>
              <a:t>E2E Test Framework for DevOps &amp; Smart Automation.pptx</a:t>
            </a:r>
            <a:endParaRPr lang="de-DE"/>
          </a:p>
        </p:txBody>
      </p:sp>
      <p:sp>
        <p:nvSpPr>
          <p:cNvPr id="18" name="Slide Number Placeholder 17"/>
          <p:cNvSpPr>
            <a:spLocks noGrp="1"/>
          </p:cNvSpPr>
          <p:nvPr>
            <p:ph type="sldNum" sz="quarter" idx="4"/>
            <p:custDataLst>
              <p:tags r:id="rId21"/>
            </p:custDataLst>
          </p:nvPr>
        </p:nvSpPr>
        <p:spPr>
          <a:xfrm>
            <a:off x="11780922" y="6653997"/>
            <a:ext cx="125034" cy="123111"/>
          </a:xfrm>
          <a:prstGeom prst="rect">
            <a:avLst/>
          </a:prstGeom>
          <a:noFill/>
        </p:spPr>
        <p:txBody>
          <a:bodyPr wrap="none" lIns="0" tIns="0" rIns="0" bIns="0" rtlCol="0" anchor="ctr">
            <a:spAutoFit/>
          </a:bodyPr>
          <a:lstStyle>
            <a:lvl1pPr marL="0" algn="ctr" defTabSz="957756" rtl="0" eaLnBrk="1" latinLnBrk="0" hangingPunct="1">
              <a:defRPr lang="de-DE" sz="800" kern="1200" smtClean="0">
                <a:solidFill>
                  <a:schemeClr val="tx1">
                    <a:lumMod val="50000"/>
                    <a:lumOff val="50000"/>
                  </a:schemeClr>
                </a:solidFill>
                <a:latin typeface="+mn-lt"/>
                <a:ea typeface="+mn-ea"/>
                <a:cs typeface="+mn-cs"/>
              </a:defRPr>
            </a:lvl1pPr>
          </a:lstStyle>
          <a:p>
            <a:fld id="{880BADDE-CEDF-4108-ADCD-25C7E5D681A5}" type="slidenum">
              <a:rPr lang="de-DE" smtClean="0"/>
              <a:pPr/>
              <a:t>‹#›</a:t>
            </a:fld>
            <a:endParaRPr lang="de-DE"/>
          </a:p>
        </p:txBody>
      </p:sp>
      <p:sp>
        <p:nvSpPr>
          <p:cNvPr id="11" name="Text Placeholder 10"/>
          <p:cNvSpPr>
            <a:spLocks noGrp="1"/>
          </p:cNvSpPr>
          <p:nvPr>
            <p:ph type="body" idx="1"/>
          </p:nvPr>
        </p:nvSpPr>
        <p:spPr>
          <a:xfrm>
            <a:off x="336062" y="1501978"/>
            <a:ext cx="11519877" cy="46365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FootnoteAndSource" hidden="1"/>
          <p:cNvSpPr txBox="1"/>
          <p:nvPr/>
        </p:nvSpPr>
        <p:spPr>
          <a:xfrm>
            <a:off x="333721" y="6174740"/>
            <a:ext cx="5762279" cy="162096"/>
          </a:xfrm>
          <a:prstGeom prst="rect">
            <a:avLst/>
          </a:prstGeom>
          <a:noFill/>
        </p:spPr>
        <p:txBody>
          <a:bodyPr vert="horz" wrap="square" lIns="0" tIns="25400" rIns="0" bIns="25400" rtlCol="0">
            <a:spAutoFit/>
          </a:bodyPr>
          <a:lstStyle/>
          <a:p>
            <a:pPr marL="429768" indent="-429768" defTabSz="914400">
              <a:lnSpc>
                <a:spcPct val="90000"/>
              </a:lnSpc>
              <a:tabLst>
                <a:tab pos="347472" algn="r"/>
              </a:tabLst>
            </a:pPr>
            <a:r>
              <a:rPr lang="de-DE" sz="800" dirty="0"/>
              <a:t>	Source:	Source Text</a:t>
            </a:r>
          </a:p>
        </p:txBody>
      </p:sp>
      <p:grpSp>
        <p:nvGrpSpPr>
          <p:cNvPr id="25" name="Group_Sticker" hidden="1"/>
          <p:cNvGrpSpPr/>
          <p:nvPr/>
        </p:nvGrpSpPr>
        <p:grpSpPr>
          <a:xfrm>
            <a:off x="11146728" y="1176717"/>
            <a:ext cx="691660" cy="246863"/>
            <a:chOff x="9056716" y="1176717"/>
            <a:chExt cx="561974" cy="246863"/>
          </a:xfrm>
        </p:grpSpPr>
        <p:sp>
          <p:nvSpPr>
            <p:cNvPr id="19" name="Rectangle 109"/>
            <p:cNvSpPr>
              <a:spLocks noChangeArrowheads="1"/>
            </p:cNvSpPr>
            <p:nvPr/>
          </p:nvSpPr>
          <p:spPr bwMode="auto">
            <a:xfrm>
              <a:off x="9109124" y="1176717"/>
              <a:ext cx="457157" cy="246863"/>
            </a:xfrm>
            <a:prstGeom prst="rect">
              <a:avLst/>
            </a:prstGeom>
            <a:noFill/>
            <a:ln w="9525">
              <a:noFill/>
              <a:miter lim="800000"/>
              <a:headEnd/>
              <a:tailEnd/>
            </a:ln>
            <a:effectLst/>
          </p:spPr>
          <p:txBody>
            <a:bodyPr wrap="none" lIns="0" tIns="46038" rIns="0" bIns="46038" anchor="ctr">
              <a:spAutoFit/>
            </a:bodyPr>
            <a:lstStyle/>
            <a:p>
              <a:pPr algn="ctr" eaLnBrk="0" hangingPunct="0">
                <a:lnSpc>
                  <a:spcPct val="100000"/>
                </a:lnSpc>
                <a:tabLst>
                  <a:tab pos="6400800" algn="r"/>
                  <a:tab pos="8636000" algn="r"/>
                </a:tabLst>
              </a:pPr>
              <a:r>
                <a:rPr lang="en-GB" sz="1000" b="1" dirty="0"/>
                <a:t>STICKER</a:t>
              </a:r>
            </a:p>
          </p:txBody>
        </p:sp>
        <p:sp>
          <p:nvSpPr>
            <p:cNvPr id="20" name="Line 110"/>
            <p:cNvSpPr>
              <a:spLocks noChangeShapeType="1"/>
            </p:cNvSpPr>
            <p:nvPr/>
          </p:nvSpPr>
          <p:spPr bwMode="auto">
            <a:xfrm>
              <a:off x="9056716" y="1184262"/>
              <a:ext cx="561974" cy="0"/>
            </a:xfrm>
            <a:prstGeom prst="line">
              <a:avLst/>
            </a:prstGeom>
            <a:noFill/>
            <a:ln w="9525">
              <a:solidFill>
                <a:schemeClr val="bg2"/>
              </a:solidFill>
              <a:round/>
              <a:headEnd type="none" w="sm" len="sm"/>
              <a:tailEnd type="none" w="sm" len="sm"/>
            </a:ln>
            <a:effectLst/>
          </p:spPr>
          <p:txBody>
            <a:bodyPr wrap="none" anchor="ctr"/>
            <a:lstStyle/>
            <a:p>
              <a:endParaRPr lang="en-GB" sz="1800" dirty="0"/>
            </a:p>
          </p:txBody>
        </p:sp>
        <p:sp>
          <p:nvSpPr>
            <p:cNvPr id="22" name="Line 111"/>
            <p:cNvSpPr>
              <a:spLocks noChangeShapeType="1"/>
            </p:cNvSpPr>
            <p:nvPr/>
          </p:nvSpPr>
          <p:spPr bwMode="auto">
            <a:xfrm>
              <a:off x="9056716" y="1412862"/>
              <a:ext cx="561974" cy="0"/>
            </a:xfrm>
            <a:prstGeom prst="line">
              <a:avLst/>
            </a:prstGeom>
            <a:noFill/>
            <a:ln w="9525">
              <a:solidFill>
                <a:schemeClr val="bg2"/>
              </a:solidFill>
              <a:round/>
              <a:headEnd type="none" w="sm" len="sm"/>
              <a:tailEnd type="none" w="sm" len="sm"/>
            </a:ln>
            <a:effectLst/>
          </p:spPr>
          <p:txBody>
            <a:bodyPr wrap="none" anchor="ctr"/>
            <a:lstStyle/>
            <a:p>
              <a:endParaRPr lang="en-GB" sz="1800" dirty="0"/>
            </a:p>
          </p:txBody>
        </p:sp>
      </p:grpSp>
      <p:sp>
        <p:nvSpPr>
          <p:cNvPr id="24" name="CapgeminiBox" hidden="1"/>
          <p:cNvSpPr>
            <a:spLocks/>
          </p:cNvSpPr>
          <p:nvPr/>
        </p:nvSpPr>
        <p:spPr>
          <a:xfrm>
            <a:off x="-2784293" y="0"/>
            <a:ext cx="2784293" cy="286232"/>
          </a:xfrm>
          <a:prstGeom prst="rect">
            <a:avLst/>
          </a:prstGeom>
        </p:spPr>
        <p:txBody>
          <a:bodyPr vert="horz" wrap="square" lIns="91440" tIns="45720" rIns="91440" bIns="45720" rtlCol="0">
            <a:sp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0"/>
            <a:r>
              <a:rPr lang="en-US" sz="1400" dirty="0"/>
              <a:t>Capgemini Global V7.7</a:t>
            </a:r>
          </a:p>
        </p:txBody>
      </p:sp>
    </p:spTree>
    <p:extLst>
      <p:ext uri="{BB962C8B-B14F-4D97-AF65-F5344CB8AC3E}">
        <p14:creationId xmlns:p14="http://schemas.microsoft.com/office/powerpoint/2010/main" val="2949794916"/>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Lst>
  <p:hf sldNum="0" hdr="0" ftr="0" dt="0"/>
  <p:txStyles>
    <p:titleStyle>
      <a:lvl1pPr algn="l" defTabSz="914342" rtl="0" eaLnBrk="1" latinLnBrk="0" hangingPunct="1">
        <a:lnSpc>
          <a:spcPct val="90000"/>
        </a:lnSpc>
        <a:spcBef>
          <a:spcPct val="0"/>
        </a:spcBef>
        <a:buNone/>
        <a:defRPr sz="2800" b="0" kern="1200">
          <a:solidFill>
            <a:schemeClr val="tx1"/>
          </a:solidFill>
          <a:latin typeface="+mj-lt"/>
          <a:ea typeface="+mj-ea"/>
          <a:cs typeface="+mj-cs"/>
        </a:defRPr>
      </a:lvl1pPr>
    </p:titleStyle>
    <p:body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82563"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61950"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42925"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4375" indent="-171450"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8.xml"/><Relationship Id="rId3" Type="http://schemas.openxmlformats.org/officeDocument/2006/relationships/image" Target="../media/image33.png"/><Relationship Id="rId7" Type="http://schemas.openxmlformats.org/officeDocument/2006/relationships/diagramQuickStyle" Target="../diagrams/quickStyle8.xml"/><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diagramLayout" Target="../diagrams/layout8.xml"/><Relationship Id="rId5" Type="http://schemas.openxmlformats.org/officeDocument/2006/relationships/diagramData" Target="../diagrams/data8.xml"/><Relationship Id="rId10" Type="http://schemas.openxmlformats.org/officeDocument/2006/relationships/image" Target="../media/image35.png"/><Relationship Id="rId4" Type="http://schemas.openxmlformats.org/officeDocument/2006/relationships/image" Target="../media/image34.png"/><Relationship Id="rId9" Type="http://schemas.microsoft.com/office/2007/relationships/diagramDrawing" Target="../diagrams/drawing8.xml"/></Relationships>
</file>

<file path=ppt/slides/_rels/slide11.xml.rels><?xml version="1.0" encoding="UTF-8" standalone="yes"?>
<Relationships xmlns="http://schemas.openxmlformats.org/package/2006/relationships"><Relationship Id="rId8" Type="http://schemas.openxmlformats.org/officeDocument/2006/relationships/image" Target="../media/image36.jp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1.xml"/><Relationship Id="rId1" Type="http://schemas.openxmlformats.org/officeDocument/2006/relationships/slideLayout" Target="../slideLayouts/slideLayout9.xml"/><Relationship Id="rId6" Type="http://schemas.openxmlformats.org/officeDocument/2006/relationships/diagramColors" Target="../diagrams/colors9.xml"/><Relationship Id="rId11" Type="http://schemas.openxmlformats.org/officeDocument/2006/relationships/image" Target="../media/image38.svg"/><Relationship Id="rId5" Type="http://schemas.openxmlformats.org/officeDocument/2006/relationships/diagramQuickStyle" Target="../diagrams/quickStyle9.xml"/><Relationship Id="rId10" Type="http://schemas.openxmlformats.org/officeDocument/2006/relationships/image" Target="../media/image37.png"/><Relationship Id="rId4" Type="http://schemas.openxmlformats.org/officeDocument/2006/relationships/diagramLayout" Target="../diagrams/layout9.xml"/><Relationship Id="rId9" Type="http://schemas.openxmlformats.org/officeDocument/2006/relationships/image" Target="../media/image10.png"/></Relationships>
</file>

<file path=ppt/slides/_rels/slide12.xml.rels><?xml version="1.0" encoding="UTF-8" standalone="yes"?>
<Relationships xmlns="http://schemas.openxmlformats.org/package/2006/relationships"><Relationship Id="rId13" Type="http://schemas.openxmlformats.org/officeDocument/2006/relationships/tags" Target="../tags/tag65.xml"/><Relationship Id="rId18" Type="http://schemas.openxmlformats.org/officeDocument/2006/relationships/tags" Target="../tags/tag70.xml"/><Relationship Id="rId26" Type="http://schemas.openxmlformats.org/officeDocument/2006/relationships/tags" Target="../tags/tag78.xml"/><Relationship Id="rId39" Type="http://schemas.openxmlformats.org/officeDocument/2006/relationships/tags" Target="../tags/tag91.xml"/><Relationship Id="rId21" Type="http://schemas.openxmlformats.org/officeDocument/2006/relationships/tags" Target="../tags/tag73.xml"/><Relationship Id="rId34" Type="http://schemas.openxmlformats.org/officeDocument/2006/relationships/tags" Target="../tags/tag86.xml"/><Relationship Id="rId42" Type="http://schemas.openxmlformats.org/officeDocument/2006/relationships/tags" Target="../tags/tag94.xml"/><Relationship Id="rId47" Type="http://schemas.openxmlformats.org/officeDocument/2006/relationships/tags" Target="../tags/tag99.xml"/><Relationship Id="rId50" Type="http://schemas.openxmlformats.org/officeDocument/2006/relationships/tags" Target="../tags/tag102.xml"/><Relationship Id="rId55" Type="http://schemas.openxmlformats.org/officeDocument/2006/relationships/tags" Target="../tags/tag107.xml"/><Relationship Id="rId63" Type="http://schemas.openxmlformats.org/officeDocument/2006/relationships/tags" Target="../tags/tag115.xml"/><Relationship Id="rId68" Type="http://schemas.openxmlformats.org/officeDocument/2006/relationships/tags" Target="../tags/tag120.xml"/><Relationship Id="rId76" Type="http://schemas.openxmlformats.org/officeDocument/2006/relationships/tags" Target="../tags/tag128.xml"/><Relationship Id="rId84" Type="http://schemas.openxmlformats.org/officeDocument/2006/relationships/notesSlide" Target="../notesSlides/notesSlide12.xml"/><Relationship Id="rId7" Type="http://schemas.openxmlformats.org/officeDocument/2006/relationships/tags" Target="../tags/tag59.xml"/><Relationship Id="rId71" Type="http://schemas.openxmlformats.org/officeDocument/2006/relationships/tags" Target="../tags/tag123.xml"/><Relationship Id="rId2" Type="http://schemas.openxmlformats.org/officeDocument/2006/relationships/tags" Target="../tags/tag54.xml"/><Relationship Id="rId16" Type="http://schemas.openxmlformats.org/officeDocument/2006/relationships/tags" Target="../tags/tag68.xml"/><Relationship Id="rId29" Type="http://schemas.openxmlformats.org/officeDocument/2006/relationships/tags" Target="../tags/tag81.xml"/><Relationship Id="rId11" Type="http://schemas.openxmlformats.org/officeDocument/2006/relationships/tags" Target="../tags/tag63.xml"/><Relationship Id="rId24" Type="http://schemas.openxmlformats.org/officeDocument/2006/relationships/tags" Target="../tags/tag76.xml"/><Relationship Id="rId32" Type="http://schemas.openxmlformats.org/officeDocument/2006/relationships/tags" Target="../tags/tag84.xml"/><Relationship Id="rId37" Type="http://schemas.openxmlformats.org/officeDocument/2006/relationships/tags" Target="../tags/tag89.xml"/><Relationship Id="rId40" Type="http://schemas.openxmlformats.org/officeDocument/2006/relationships/tags" Target="../tags/tag92.xml"/><Relationship Id="rId45" Type="http://schemas.openxmlformats.org/officeDocument/2006/relationships/tags" Target="../tags/tag97.xml"/><Relationship Id="rId53" Type="http://schemas.openxmlformats.org/officeDocument/2006/relationships/tags" Target="../tags/tag105.xml"/><Relationship Id="rId58" Type="http://schemas.openxmlformats.org/officeDocument/2006/relationships/tags" Target="../tags/tag110.xml"/><Relationship Id="rId66" Type="http://schemas.openxmlformats.org/officeDocument/2006/relationships/tags" Target="../tags/tag118.xml"/><Relationship Id="rId74" Type="http://schemas.openxmlformats.org/officeDocument/2006/relationships/tags" Target="../tags/tag126.xml"/><Relationship Id="rId79" Type="http://schemas.openxmlformats.org/officeDocument/2006/relationships/tags" Target="../tags/tag131.xml"/><Relationship Id="rId5" Type="http://schemas.openxmlformats.org/officeDocument/2006/relationships/tags" Target="../tags/tag57.xml"/><Relationship Id="rId61" Type="http://schemas.openxmlformats.org/officeDocument/2006/relationships/tags" Target="../tags/tag113.xml"/><Relationship Id="rId82" Type="http://schemas.openxmlformats.org/officeDocument/2006/relationships/tags" Target="../tags/tag134.xml"/><Relationship Id="rId10" Type="http://schemas.openxmlformats.org/officeDocument/2006/relationships/tags" Target="../tags/tag62.xml"/><Relationship Id="rId19" Type="http://schemas.openxmlformats.org/officeDocument/2006/relationships/tags" Target="../tags/tag71.xml"/><Relationship Id="rId31" Type="http://schemas.openxmlformats.org/officeDocument/2006/relationships/tags" Target="../tags/tag83.xml"/><Relationship Id="rId44" Type="http://schemas.openxmlformats.org/officeDocument/2006/relationships/tags" Target="../tags/tag96.xml"/><Relationship Id="rId52" Type="http://schemas.openxmlformats.org/officeDocument/2006/relationships/tags" Target="../tags/tag104.xml"/><Relationship Id="rId60" Type="http://schemas.openxmlformats.org/officeDocument/2006/relationships/tags" Target="../tags/tag112.xml"/><Relationship Id="rId65" Type="http://schemas.openxmlformats.org/officeDocument/2006/relationships/tags" Target="../tags/tag117.xml"/><Relationship Id="rId73" Type="http://schemas.openxmlformats.org/officeDocument/2006/relationships/tags" Target="../tags/tag125.xml"/><Relationship Id="rId78" Type="http://schemas.openxmlformats.org/officeDocument/2006/relationships/tags" Target="../tags/tag130.xml"/><Relationship Id="rId81" Type="http://schemas.openxmlformats.org/officeDocument/2006/relationships/tags" Target="../tags/tag133.xml"/><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tags" Target="../tags/tag66.xml"/><Relationship Id="rId22" Type="http://schemas.openxmlformats.org/officeDocument/2006/relationships/tags" Target="../tags/tag74.xml"/><Relationship Id="rId27" Type="http://schemas.openxmlformats.org/officeDocument/2006/relationships/tags" Target="../tags/tag79.xml"/><Relationship Id="rId30" Type="http://schemas.openxmlformats.org/officeDocument/2006/relationships/tags" Target="../tags/tag82.xml"/><Relationship Id="rId35" Type="http://schemas.openxmlformats.org/officeDocument/2006/relationships/tags" Target="../tags/tag87.xml"/><Relationship Id="rId43" Type="http://schemas.openxmlformats.org/officeDocument/2006/relationships/tags" Target="../tags/tag95.xml"/><Relationship Id="rId48" Type="http://schemas.openxmlformats.org/officeDocument/2006/relationships/tags" Target="../tags/tag100.xml"/><Relationship Id="rId56" Type="http://schemas.openxmlformats.org/officeDocument/2006/relationships/tags" Target="../tags/tag108.xml"/><Relationship Id="rId64" Type="http://schemas.openxmlformats.org/officeDocument/2006/relationships/tags" Target="../tags/tag116.xml"/><Relationship Id="rId69" Type="http://schemas.openxmlformats.org/officeDocument/2006/relationships/tags" Target="../tags/tag121.xml"/><Relationship Id="rId77" Type="http://schemas.openxmlformats.org/officeDocument/2006/relationships/tags" Target="../tags/tag129.xml"/><Relationship Id="rId8" Type="http://schemas.openxmlformats.org/officeDocument/2006/relationships/tags" Target="../tags/tag60.xml"/><Relationship Id="rId51" Type="http://schemas.openxmlformats.org/officeDocument/2006/relationships/tags" Target="../tags/tag103.xml"/><Relationship Id="rId72" Type="http://schemas.openxmlformats.org/officeDocument/2006/relationships/tags" Target="../tags/tag124.xml"/><Relationship Id="rId80" Type="http://schemas.openxmlformats.org/officeDocument/2006/relationships/tags" Target="../tags/tag132.xml"/><Relationship Id="rId3" Type="http://schemas.openxmlformats.org/officeDocument/2006/relationships/tags" Target="../tags/tag55.xml"/><Relationship Id="rId12" Type="http://schemas.openxmlformats.org/officeDocument/2006/relationships/tags" Target="../tags/tag64.xml"/><Relationship Id="rId17" Type="http://schemas.openxmlformats.org/officeDocument/2006/relationships/tags" Target="../tags/tag69.xml"/><Relationship Id="rId25" Type="http://schemas.openxmlformats.org/officeDocument/2006/relationships/tags" Target="../tags/tag77.xml"/><Relationship Id="rId33" Type="http://schemas.openxmlformats.org/officeDocument/2006/relationships/tags" Target="../tags/tag85.xml"/><Relationship Id="rId38" Type="http://schemas.openxmlformats.org/officeDocument/2006/relationships/tags" Target="../tags/tag90.xml"/><Relationship Id="rId46" Type="http://schemas.openxmlformats.org/officeDocument/2006/relationships/tags" Target="../tags/tag98.xml"/><Relationship Id="rId59" Type="http://schemas.openxmlformats.org/officeDocument/2006/relationships/tags" Target="../tags/tag111.xml"/><Relationship Id="rId67" Type="http://schemas.openxmlformats.org/officeDocument/2006/relationships/tags" Target="../tags/tag119.xml"/><Relationship Id="rId20" Type="http://schemas.openxmlformats.org/officeDocument/2006/relationships/tags" Target="../tags/tag72.xml"/><Relationship Id="rId41" Type="http://schemas.openxmlformats.org/officeDocument/2006/relationships/tags" Target="../tags/tag93.xml"/><Relationship Id="rId54" Type="http://schemas.openxmlformats.org/officeDocument/2006/relationships/tags" Target="../tags/tag106.xml"/><Relationship Id="rId62" Type="http://schemas.openxmlformats.org/officeDocument/2006/relationships/tags" Target="../tags/tag114.xml"/><Relationship Id="rId70" Type="http://schemas.openxmlformats.org/officeDocument/2006/relationships/tags" Target="../tags/tag122.xml"/><Relationship Id="rId75" Type="http://schemas.openxmlformats.org/officeDocument/2006/relationships/tags" Target="../tags/tag127.xml"/><Relationship Id="rId83"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tags" Target="../tags/tag58.xml"/><Relationship Id="rId15" Type="http://schemas.openxmlformats.org/officeDocument/2006/relationships/tags" Target="../tags/tag67.xml"/><Relationship Id="rId23" Type="http://schemas.openxmlformats.org/officeDocument/2006/relationships/tags" Target="../tags/tag75.xml"/><Relationship Id="rId28" Type="http://schemas.openxmlformats.org/officeDocument/2006/relationships/tags" Target="../tags/tag80.xml"/><Relationship Id="rId36" Type="http://schemas.openxmlformats.org/officeDocument/2006/relationships/tags" Target="../tags/tag88.xml"/><Relationship Id="rId49" Type="http://schemas.openxmlformats.org/officeDocument/2006/relationships/tags" Target="../tags/tag101.xml"/><Relationship Id="rId57" Type="http://schemas.openxmlformats.org/officeDocument/2006/relationships/tags" Target="../tags/tag109.xml"/></Relationships>
</file>

<file path=ppt/slides/_rels/slide13.xml.rels><?xml version="1.0" encoding="UTF-8" standalone="yes"?>
<Relationships xmlns="http://schemas.openxmlformats.org/package/2006/relationships"><Relationship Id="rId8" Type="http://schemas.openxmlformats.org/officeDocument/2006/relationships/diagramData" Target="../diagrams/data11.xml"/><Relationship Id="rId3" Type="http://schemas.openxmlformats.org/officeDocument/2006/relationships/diagramData" Target="../diagrams/data10.xml"/><Relationship Id="rId7" Type="http://schemas.microsoft.com/office/2007/relationships/diagramDrawing" Target="../diagrams/drawing10.xml"/><Relationship Id="rId12" Type="http://schemas.microsoft.com/office/2007/relationships/diagramDrawing" Target="../diagrams/drawing11.xml"/><Relationship Id="rId2" Type="http://schemas.openxmlformats.org/officeDocument/2006/relationships/notesSlide" Target="../notesSlides/notesSlide13.xml"/><Relationship Id="rId1" Type="http://schemas.openxmlformats.org/officeDocument/2006/relationships/slideLayout" Target="../slideLayouts/slideLayout9.xml"/><Relationship Id="rId6" Type="http://schemas.openxmlformats.org/officeDocument/2006/relationships/diagramColors" Target="../diagrams/colors10.xml"/><Relationship Id="rId11" Type="http://schemas.openxmlformats.org/officeDocument/2006/relationships/diagramColors" Target="../diagrams/colors11.xml"/><Relationship Id="rId5" Type="http://schemas.openxmlformats.org/officeDocument/2006/relationships/diagramQuickStyle" Target="../diagrams/quickStyle10.xml"/><Relationship Id="rId10" Type="http://schemas.openxmlformats.org/officeDocument/2006/relationships/diagramQuickStyle" Target="../diagrams/quickStyle11.xml"/><Relationship Id="rId4" Type="http://schemas.openxmlformats.org/officeDocument/2006/relationships/diagramLayout" Target="../diagrams/layout10.xml"/><Relationship Id="rId9" Type="http://schemas.openxmlformats.org/officeDocument/2006/relationships/diagramLayout" Target="../diagrams/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13" Type="http://schemas.openxmlformats.org/officeDocument/2006/relationships/image" Target="../media/image19.png"/><Relationship Id="rId18" Type="http://schemas.openxmlformats.org/officeDocument/2006/relationships/image" Target="../media/image24.png"/><Relationship Id="rId3" Type="http://schemas.openxmlformats.org/officeDocument/2006/relationships/image" Target="../media/image14.jpeg"/><Relationship Id="rId21" Type="http://schemas.openxmlformats.org/officeDocument/2006/relationships/image" Target="../media/image27.png"/><Relationship Id="rId7" Type="http://schemas.openxmlformats.org/officeDocument/2006/relationships/diagramColors" Target="../diagrams/colors1.xml"/><Relationship Id="rId12" Type="http://schemas.openxmlformats.org/officeDocument/2006/relationships/image" Target="../media/image18.png"/><Relationship Id="rId17" Type="http://schemas.openxmlformats.org/officeDocument/2006/relationships/image" Target="../media/image23.png"/><Relationship Id="rId2" Type="http://schemas.openxmlformats.org/officeDocument/2006/relationships/notesSlide" Target="../notesSlides/notesSlide4.xml"/><Relationship Id="rId16" Type="http://schemas.openxmlformats.org/officeDocument/2006/relationships/image" Target="../media/image22.gif"/><Relationship Id="rId20" Type="http://schemas.openxmlformats.org/officeDocument/2006/relationships/image" Target="../media/image26.png"/><Relationship Id="rId1" Type="http://schemas.openxmlformats.org/officeDocument/2006/relationships/slideLayout" Target="../slideLayouts/slideLayout15.xml"/><Relationship Id="rId6" Type="http://schemas.openxmlformats.org/officeDocument/2006/relationships/diagramQuickStyle" Target="../diagrams/quickStyle1.xml"/><Relationship Id="rId11" Type="http://schemas.openxmlformats.org/officeDocument/2006/relationships/image" Target="../media/image17.png"/><Relationship Id="rId5" Type="http://schemas.openxmlformats.org/officeDocument/2006/relationships/diagramLayout" Target="../diagrams/layout1.xml"/><Relationship Id="rId15" Type="http://schemas.openxmlformats.org/officeDocument/2006/relationships/image" Target="../media/image21.png"/><Relationship Id="rId10" Type="http://schemas.openxmlformats.org/officeDocument/2006/relationships/image" Target="../media/image16.png"/><Relationship Id="rId19" Type="http://schemas.openxmlformats.org/officeDocument/2006/relationships/image" Target="../media/image25.png"/><Relationship Id="rId4" Type="http://schemas.openxmlformats.org/officeDocument/2006/relationships/diagramData" Target="../diagrams/data1.xml"/><Relationship Id="rId9" Type="http://schemas.openxmlformats.org/officeDocument/2006/relationships/image" Target="../media/image15.png"/><Relationship Id="rId14" Type="http://schemas.openxmlformats.org/officeDocument/2006/relationships/image" Target="../media/image20.png"/><Relationship Id="rId22" Type="http://schemas.openxmlformats.org/officeDocument/2006/relationships/image" Target="../media/image28.png"/></Relationships>
</file>

<file path=ppt/slides/_rels/slide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diagramColors" Target="../diagrams/colors7.xml"/><Relationship Id="rId5" Type="http://schemas.openxmlformats.org/officeDocument/2006/relationships/diagramQuickStyle" Target="../diagrams/quickStyle7.xml"/><Relationship Id="rId10" Type="http://schemas.openxmlformats.org/officeDocument/2006/relationships/image" Target="../media/image32.png"/><Relationship Id="rId4" Type="http://schemas.openxmlformats.org/officeDocument/2006/relationships/diagramLayout" Target="../diagrams/layout7.xml"/><Relationship Id="rId9"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subTitle" idx="1"/>
          </p:nvPr>
        </p:nvSpPr>
        <p:spPr>
          <a:xfrm>
            <a:off x="7464152" y="1484784"/>
            <a:ext cx="6234859" cy="1810320"/>
          </a:xfrm>
          <a:prstGeom prst="rect">
            <a:avLst/>
          </a:prstGeom>
        </p:spPr>
        <p:txBody>
          <a:bodyPr/>
          <a:lstStyle/>
          <a:p>
            <a:pPr>
              <a:lnSpc>
                <a:spcPct val="100000"/>
              </a:lnSpc>
            </a:pPr>
            <a:r>
              <a:rPr lang="en-US" sz="3600" dirty="0"/>
              <a:t>Why do we do it </a:t>
            </a:r>
          </a:p>
          <a:p>
            <a:pPr>
              <a:lnSpc>
                <a:spcPct val="100000"/>
              </a:lnSpc>
            </a:pPr>
            <a:r>
              <a:rPr lang="en-US" sz="3600" dirty="0"/>
              <a:t>better and faster </a:t>
            </a:r>
          </a:p>
          <a:p>
            <a:pPr>
              <a:lnSpc>
                <a:spcPct val="100000"/>
              </a:lnSpc>
            </a:pPr>
            <a:r>
              <a:rPr lang="en-US" sz="3600" dirty="0"/>
              <a:t>than you?</a:t>
            </a:r>
          </a:p>
        </p:txBody>
      </p:sp>
      <p:sp>
        <p:nvSpPr>
          <p:cNvPr id="3" name="Titre 2"/>
          <p:cNvSpPr>
            <a:spLocks noGrp="1"/>
          </p:cNvSpPr>
          <p:nvPr>
            <p:ph type="title"/>
          </p:nvPr>
        </p:nvSpPr>
        <p:spPr/>
        <p:txBody>
          <a:bodyPr/>
          <a:lstStyle/>
          <a:p>
            <a:r>
              <a:rPr lang="de-DE" sz="3600" dirty="0"/>
              <a:t>Test Automation </a:t>
            </a:r>
            <a:br>
              <a:rPr lang="de-DE" sz="3600" dirty="0"/>
            </a:br>
            <a:endParaRPr lang="en-US" sz="3600" dirty="0"/>
          </a:p>
        </p:txBody>
      </p:sp>
      <p:sp>
        <p:nvSpPr>
          <p:cNvPr id="5" name="Rectangle 4"/>
          <p:cNvSpPr/>
          <p:nvPr/>
        </p:nvSpPr>
        <p:spPr>
          <a:xfrm>
            <a:off x="7495728" y="5085184"/>
            <a:ext cx="3911494" cy="584775"/>
          </a:xfrm>
          <a:prstGeom prst="rect">
            <a:avLst/>
          </a:prstGeom>
        </p:spPr>
        <p:txBody>
          <a:bodyPr wrap="square">
            <a:spAutoFit/>
          </a:bodyPr>
          <a:lstStyle/>
          <a:p>
            <a:pPr algn="r"/>
            <a:r>
              <a:rPr lang="en-US" sz="1600" dirty="0">
                <a:solidFill>
                  <a:schemeClr val="bg1"/>
                </a:solidFill>
              </a:rPr>
              <a:t>Wroclaw,</a:t>
            </a:r>
            <a:r>
              <a:rPr lang="pl-PL" sz="1600" dirty="0">
                <a:solidFill>
                  <a:schemeClr val="bg1"/>
                </a:solidFill>
              </a:rPr>
              <a:t> </a:t>
            </a:r>
            <a:r>
              <a:rPr lang="en-US" sz="1600" dirty="0">
                <a:solidFill>
                  <a:schemeClr val="bg1"/>
                </a:solidFill>
              </a:rPr>
              <a:t>September, </a:t>
            </a:r>
            <a:endParaRPr lang="pl-PL" sz="1600" dirty="0">
              <a:solidFill>
                <a:schemeClr val="bg1"/>
              </a:solidFill>
            </a:endParaRPr>
          </a:p>
          <a:p>
            <a:pPr algn="r"/>
            <a:r>
              <a:rPr lang="en-US" sz="1600" dirty="0">
                <a:solidFill>
                  <a:schemeClr val="bg1"/>
                </a:solidFill>
              </a:rPr>
              <a:t>Łukasz Stefaniszyn</a:t>
            </a:r>
          </a:p>
        </p:txBody>
      </p:sp>
      <p:pic>
        <p:nvPicPr>
          <p:cNvPr id="9" name="Picture 8">
            <a:extLst>
              <a:ext uri="{FF2B5EF4-FFF2-40B4-BE49-F238E27FC236}">
                <a16:creationId xmlns:a16="http://schemas.microsoft.com/office/drawing/2014/main" id="{46F889EC-7D54-44BE-B63C-3E611987D003}"/>
              </a:ext>
            </a:extLst>
          </p:cNvPr>
          <p:cNvPicPr>
            <a:picLocks noChangeAspect="1"/>
          </p:cNvPicPr>
          <p:nvPr/>
        </p:nvPicPr>
        <p:blipFill rotWithShape="1">
          <a:blip r:embed="rId3">
            <a:extLst>
              <a:ext uri="{28A0092B-C50C-407E-A947-70E740481C1C}">
                <a14:useLocalDpi xmlns:a14="http://schemas.microsoft.com/office/drawing/2010/main" val="0"/>
              </a:ext>
            </a:extLst>
          </a:blip>
          <a:srcRect l="15681" t="18723" r="16914" b="21361"/>
          <a:stretch/>
        </p:blipFill>
        <p:spPr>
          <a:xfrm>
            <a:off x="9890874" y="3295104"/>
            <a:ext cx="2304256" cy="1152129"/>
          </a:xfrm>
          <a:prstGeom prst="rect">
            <a:avLst/>
          </a:prstGeom>
        </p:spPr>
      </p:pic>
    </p:spTree>
    <p:extLst>
      <p:ext uri="{BB962C8B-B14F-4D97-AF65-F5344CB8AC3E}">
        <p14:creationId xmlns:p14="http://schemas.microsoft.com/office/powerpoint/2010/main" val="14451106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pPr>
              <a:spcAft>
                <a:spcPts val="1200"/>
              </a:spcAft>
            </a:pPr>
            <a:r>
              <a:rPr lang="en-US" sz="2500" b="1" dirty="0"/>
              <a:t>DevOps</a:t>
            </a:r>
            <a:r>
              <a:rPr lang="pl-PL" sz="2500" b="1" dirty="0"/>
              <a:t> Module - </a:t>
            </a:r>
            <a:r>
              <a:rPr lang="en-US" sz="2500" b="1" dirty="0"/>
              <a:t>infrastructure</a:t>
            </a:r>
            <a:r>
              <a:rPr lang="pl-PL" sz="2500" b="1" dirty="0"/>
              <a:t> </a:t>
            </a:r>
            <a:r>
              <a:rPr lang="en-US" sz="2500" b="1" dirty="0"/>
              <a:t>ingredients</a:t>
            </a:r>
          </a:p>
        </p:txBody>
      </p:sp>
      <p:sp>
        <p:nvSpPr>
          <p:cNvPr id="183298" name="AutoShape 2" descr="Znalezione obrazy dla zapytania jenkins"/>
          <p:cNvSpPr>
            <a:spLocks noChangeAspect="1" noChangeArrowheads="1"/>
          </p:cNvSpPr>
          <p:nvPr/>
        </p:nvSpPr>
        <p:spPr bwMode="auto">
          <a:xfrm>
            <a:off x="1298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183300" name="AutoShape 4" descr="Znalezione obrazy dla zapytania jenkins"/>
          <p:cNvSpPr>
            <a:spLocks noChangeAspect="1" noChangeArrowheads="1"/>
          </p:cNvSpPr>
          <p:nvPr/>
        </p:nvSpPr>
        <p:spPr bwMode="auto">
          <a:xfrm>
            <a:off x="1298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pic>
        <p:nvPicPr>
          <p:cNvPr id="183302" name="Picture 6" descr="Podobny obraz"/>
          <p:cNvPicPr>
            <a:picLocks noChangeAspect="1" noChangeArrowheads="1"/>
          </p:cNvPicPr>
          <p:nvPr/>
        </p:nvPicPr>
        <p:blipFill>
          <a:blip r:embed="rId3"/>
          <a:srcRect/>
          <a:stretch>
            <a:fillRect/>
          </a:stretch>
        </p:blipFill>
        <p:spPr bwMode="auto">
          <a:xfrm>
            <a:off x="9099364" y="95590"/>
            <a:ext cx="813060" cy="813060"/>
          </a:xfrm>
          <a:prstGeom prst="rect">
            <a:avLst/>
          </a:prstGeom>
          <a:noFill/>
        </p:spPr>
      </p:pic>
      <p:pic>
        <p:nvPicPr>
          <p:cNvPr id="11" name="Picture 5" descr="Znalezione obrazy dla zapytania groovy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098852" y="359512"/>
            <a:ext cx="805460" cy="40511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 name="Diagram 11"/>
          <p:cNvGraphicFramePr/>
          <p:nvPr>
            <p:extLst>
              <p:ext uri="{D42A27DB-BD31-4B8C-83A1-F6EECF244321}">
                <p14:modId xmlns:p14="http://schemas.microsoft.com/office/powerpoint/2010/main" val="4279471080"/>
              </p:ext>
            </p:extLst>
          </p:nvPr>
        </p:nvGraphicFramePr>
        <p:xfrm>
          <a:off x="839416" y="2060848"/>
          <a:ext cx="10657184" cy="345638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3" name="Picture 2" descr="Znalezione obrazy dla zapytania docker swarm"/>
          <p:cNvPicPr>
            <a:picLocks noChangeAspect="1" noChangeArrowheads="1"/>
          </p:cNvPicPr>
          <p:nvPr/>
        </p:nvPicPr>
        <p:blipFill>
          <a:blip r:embed="rId10"/>
          <a:srcRect/>
          <a:stretch>
            <a:fillRect/>
          </a:stretch>
        </p:blipFill>
        <p:spPr bwMode="auto">
          <a:xfrm>
            <a:off x="10075438" y="116541"/>
            <a:ext cx="773222" cy="761881"/>
          </a:xfrm>
          <a:prstGeom prst="rect">
            <a:avLst/>
          </a:prstGeom>
          <a:noFill/>
        </p:spPr>
      </p:pic>
    </p:spTree>
    <p:extLst>
      <p:ext uri="{BB962C8B-B14F-4D97-AF65-F5344CB8AC3E}">
        <p14:creationId xmlns:p14="http://schemas.microsoft.com/office/powerpoint/2010/main" val="28041595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ey takeaway</a:t>
            </a:r>
            <a:r>
              <a:rPr lang="pl-PL" dirty="0"/>
              <a:t>s</a:t>
            </a:r>
            <a:endParaRPr lang="en-US" dirty="0"/>
          </a:p>
        </p:txBody>
      </p:sp>
      <p:graphicFrame>
        <p:nvGraphicFramePr>
          <p:cNvPr id="5" name="Diagram 4"/>
          <p:cNvGraphicFramePr/>
          <p:nvPr>
            <p:extLst>
              <p:ext uri="{D42A27DB-BD31-4B8C-83A1-F6EECF244321}">
                <p14:modId xmlns:p14="http://schemas.microsoft.com/office/powerpoint/2010/main" val="2492377199"/>
              </p:ext>
            </p:extLst>
          </p:nvPr>
        </p:nvGraphicFramePr>
        <p:xfrm>
          <a:off x="479376" y="692702"/>
          <a:ext cx="6264844" cy="55446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23992" y="2636990"/>
            <a:ext cx="5475894" cy="3600400"/>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7" name="TextBox 6">
            <a:extLst>
              <a:ext uri="{FF2B5EF4-FFF2-40B4-BE49-F238E27FC236}">
                <a16:creationId xmlns:a16="http://schemas.microsoft.com/office/drawing/2014/main" id="{72949489-8099-4CFC-AD4F-D276C9B8559F}"/>
              </a:ext>
            </a:extLst>
          </p:cNvPr>
          <p:cNvSpPr txBox="1"/>
          <p:nvPr/>
        </p:nvSpPr>
        <p:spPr>
          <a:xfrm>
            <a:off x="5159896" y="908720"/>
            <a:ext cx="5441939" cy="1200329"/>
          </a:xfrm>
          <a:prstGeom prst="rect">
            <a:avLst/>
          </a:prstGeom>
          <a:noFill/>
        </p:spPr>
        <p:txBody>
          <a:bodyPr wrap="none" rtlCol="0">
            <a:spAutoFit/>
          </a:bodyPr>
          <a:lstStyle/>
          <a:p>
            <a:r>
              <a:rPr lang="pl-PL" dirty="0"/>
              <a:t>GitHub </a:t>
            </a:r>
          </a:p>
          <a:p>
            <a:r>
              <a:rPr lang="pl-PL" dirty="0"/>
              <a:t>Search :  devon</a:t>
            </a:r>
            <a:r>
              <a:rPr lang="pl-PL" b="1" dirty="0"/>
              <a:t>fw</a:t>
            </a:r>
            <a:r>
              <a:rPr lang="pl-PL" dirty="0"/>
              <a:t>-testing</a:t>
            </a:r>
          </a:p>
          <a:p>
            <a:endParaRPr lang="pl-PL" dirty="0"/>
          </a:p>
          <a:p>
            <a:r>
              <a:rPr lang="de-DE" dirty="0"/>
              <a:t>https://github.com/devonfw/devonfw-testing</a:t>
            </a:r>
          </a:p>
        </p:txBody>
      </p:sp>
      <p:pic>
        <p:nvPicPr>
          <p:cNvPr id="9" name="Picture 8">
            <a:extLst>
              <a:ext uri="{FF2B5EF4-FFF2-40B4-BE49-F238E27FC236}">
                <a16:creationId xmlns:a16="http://schemas.microsoft.com/office/drawing/2014/main" id="{EBCE25F8-A5E5-4E5C-B955-9753E2A85469}"/>
              </a:ext>
            </a:extLst>
          </p:cNvPr>
          <p:cNvPicPr>
            <a:picLocks noChangeAspect="1"/>
          </p:cNvPicPr>
          <p:nvPr/>
        </p:nvPicPr>
        <p:blipFill rotWithShape="1">
          <a:blip r:embed="rId9">
            <a:extLst>
              <a:ext uri="{28A0092B-C50C-407E-A947-70E740481C1C}">
                <a14:useLocalDpi xmlns:a14="http://schemas.microsoft.com/office/drawing/2010/main" val="0"/>
              </a:ext>
            </a:extLst>
          </a:blip>
          <a:srcRect l="15681" t="18723" r="16914" b="21361"/>
          <a:stretch/>
        </p:blipFill>
        <p:spPr>
          <a:xfrm>
            <a:off x="8616280" y="620687"/>
            <a:ext cx="2304256" cy="1152129"/>
          </a:xfrm>
          <a:prstGeom prst="rect">
            <a:avLst/>
          </a:prstGeom>
        </p:spPr>
      </p:pic>
      <p:pic>
        <p:nvPicPr>
          <p:cNvPr id="8" name="Graphic 7">
            <a:extLst>
              <a:ext uri="{FF2B5EF4-FFF2-40B4-BE49-F238E27FC236}">
                <a16:creationId xmlns:a16="http://schemas.microsoft.com/office/drawing/2014/main" id="{FA09C92F-C53A-43F0-B62A-771F90DFB8AC}"/>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934561" y="834690"/>
            <a:ext cx="724121" cy="724121"/>
          </a:xfrm>
          <a:prstGeom prst="rect">
            <a:avLst/>
          </a:prstGeom>
        </p:spPr>
      </p:pic>
    </p:spTree>
    <p:extLst>
      <p:ext uri="{BB962C8B-B14F-4D97-AF65-F5344CB8AC3E}">
        <p14:creationId xmlns:p14="http://schemas.microsoft.com/office/powerpoint/2010/main" val="40651618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D242DD65-2714-4129-8966-EDB70E11EBA8}"/>
              </a:ext>
            </a:extLst>
          </p:cNvPr>
          <p:cNvGrpSpPr/>
          <p:nvPr/>
        </p:nvGrpSpPr>
        <p:grpSpPr>
          <a:xfrm>
            <a:off x="5159871" y="1099423"/>
            <a:ext cx="1252559" cy="1552004"/>
            <a:chOff x="3297090" y="1099423"/>
            <a:chExt cx="1252559" cy="1552004"/>
          </a:xfrm>
        </p:grpSpPr>
        <p:grpSp>
          <p:nvGrpSpPr>
            <p:cNvPr id="160" name="Group 159"/>
            <p:cNvGrpSpPr/>
            <p:nvPr/>
          </p:nvGrpSpPr>
          <p:grpSpPr>
            <a:xfrm>
              <a:off x="3869779" y="1457457"/>
              <a:ext cx="162183" cy="1193970"/>
              <a:chOff x="6417995" y="1281959"/>
              <a:chExt cx="190500" cy="1354931"/>
            </a:xfrm>
          </p:grpSpPr>
          <p:cxnSp>
            <p:nvCxnSpPr>
              <p:cNvPr id="247" name="OTLSHAPE_M_a58f29487c0343c08abcf41913e40cae_Connector1"/>
              <p:cNvCxnSpPr/>
              <p:nvPr>
                <p:custDataLst>
                  <p:tags r:id="rId81"/>
                </p:custDataLst>
              </p:nvPr>
            </p:nvCxnSpPr>
            <p:spPr>
              <a:xfrm>
                <a:off x="6417995" y="1281959"/>
                <a:ext cx="0" cy="1354931"/>
              </a:xfrm>
              <a:prstGeom prst="line">
                <a:avLst/>
              </a:prstGeom>
              <a:ln w="9525" cap="flat" cmpd="sng" algn="ctr">
                <a:solidFill>
                  <a:schemeClr val="accent6">
                    <a:lumMod val="5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8" name="OTLSHAPE_M_a58f29487c0343c08abcf41913e40cae_Shape"/>
              <p:cNvSpPr/>
              <p:nvPr>
                <p:custDataLst>
                  <p:tags r:id="rId82"/>
                </p:custDataLst>
              </p:nvPr>
            </p:nvSpPr>
            <p:spPr>
              <a:xfrm rot="16200000">
                <a:off x="6443395" y="1281959"/>
                <a:ext cx="165100" cy="165100"/>
              </a:xfrm>
              <a:prstGeom prst="flowChartMerge">
                <a:avLst/>
              </a:prstGeom>
              <a:solidFill>
                <a:schemeClr val="accent6">
                  <a:lumMod val="50000"/>
                </a:schemeClr>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sp>
          <p:nvSpPr>
            <p:cNvPr id="191" name="OTLSHAPE_M_a58f29487c0343c08abcf41913e40cae_Title"/>
            <p:cNvSpPr txBox="1"/>
            <p:nvPr>
              <p:custDataLst>
                <p:tags r:id="rId79"/>
              </p:custDataLst>
            </p:nvPr>
          </p:nvSpPr>
          <p:spPr>
            <a:xfrm>
              <a:off x="3297090" y="1099423"/>
              <a:ext cx="1252559" cy="169277"/>
            </a:xfrm>
            <a:prstGeom prst="rect">
              <a:avLst/>
            </a:prstGeom>
            <a:noFill/>
          </p:spPr>
          <p:txBody>
            <a:bodyPr vert="horz" wrap="square" lIns="0" tIns="0" rIns="0" bIns="0" rtlCol="0" anchor="ctr" anchorCtr="0">
              <a:spAutoFit/>
            </a:bodyPr>
            <a:lstStyle/>
            <a:p>
              <a:r>
                <a:rPr lang="pl-PL" sz="1100" b="1" spc="-5" dirty="0" err="1">
                  <a:solidFill>
                    <a:schemeClr val="accent6">
                      <a:lumMod val="50000"/>
                    </a:schemeClr>
                  </a:solidFill>
                  <a:latin typeface="Calibri" panose="020F0502020204030204" pitchFamily="34" charset="0"/>
                </a:rPr>
                <a:t>WebAPI</a:t>
              </a:r>
              <a:r>
                <a:rPr lang="en-US" sz="1100" b="1" spc="-5" dirty="0">
                  <a:solidFill>
                    <a:schemeClr val="accent6">
                      <a:lumMod val="50000"/>
                    </a:schemeClr>
                  </a:solidFill>
                  <a:latin typeface="Calibri" panose="020F0502020204030204" pitchFamily="34" charset="0"/>
                </a:rPr>
                <a:t> ready to use</a:t>
              </a:r>
            </a:p>
          </p:txBody>
        </p:sp>
        <p:sp>
          <p:nvSpPr>
            <p:cNvPr id="192" name="OTLSHAPE_M_a58f29487c0343c08abcf41913e40cae_Date"/>
            <p:cNvSpPr txBox="1"/>
            <p:nvPr>
              <p:custDataLst>
                <p:tags r:id="rId80"/>
              </p:custDataLst>
            </p:nvPr>
          </p:nvSpPr>
          <p:spPr>
            <a:xfrm>
              <a:off x="3541509" y="1268700"/>
              <a:ext cx="654323" cy="169277"/>
            </a:xfrm>
            <a:prstGeom prst="rect">
              <a:avLst/>
            </a:prstGeom>
            <a:noFill/>
          </p:spPr>
          <p:txBody>
            <a:bodyPr vert="horz" wrap="square" lIns="0" tIns="0" rIns="0" bIns="0" rtlCol="0" anchor="ctr" anchorCtr="0">
              <a:spAutoFit/>
            </a:bodyPr>
            <a:lstStyle/>
            <a:p>
              <a:r>
                <a:rPr lang="en-US" sz="1100" spc="-6" dirty="0">
                  <a:solidFill>
                    <a:srgbClr val="7F7F7F"/>
                  </a:solidFill>
                  <a:latin typeface="Calibri" panose="020F0502020204030204" pitchFamily="34" charset="0"/>
                </a:rPr>
                <a:t>Jul 2018</a:t>
              </a:r>
            </a:p>
          </p:txBody>
        </p:sp>
      </p:grpSp>
      <p:sp>
        <p:nvSpPr>
          <p:cNvPr id="2" name="Title 1"/>
          <p:cNvSpPr>
            <a:spLocks noGrp="1"/>
          </p:cNvSpPr>
          <p:nvPr>
            <p:ph type="title" idx="4294967295"/>
          </p:nvPr>
        </p:nvSpPr>
        <p:spPr>
          <a:xfrm>
            <a:off x="0" y="0"/>
            <a:ext cx="12192000" cy="1001713"/>
          </a:xfrm>
        </p:spPr>
        <p:txBody>
          <a:bodyPr/>
          <a:lstStyle/>
          <a:p>
            <a:pPr>
              <a:spcAft>
                <a:spcPts val="1200"/>
              </a:spcAft>
            </a:pPr>
            <a:r>
              <a:rPr lang="en-US" sz="2500" b="1" dirty="0"/>
              <a:t>  </a:t>
            </a:r>
            <a:r>
              <a:rPr lang="pl-PL" sz="2500" b="1" dirty="0"/>
              <a:t>Mr Checker E2E </a:t>
            </a:r>
            <a:r>
              <a:rPr lang="en-US" sz="2500" b="1" dirty="0"/>
              <a:t>Framework road map</a:t>
            </a:r>
          </a:p>
        </p:txBody>
      </p:sp>
      <p:cxnSp>
        <p:nvCxnSpPr>
          <p:cNvPr id="149" name="OTLSHAPE_TB_00000000000000000000000000000000_Separator1"/>
          <p:cNvCxnSpPr/>
          <p:nvPr>
            <p:custDataLst>
              <p:tags r:id="rId1"/>
            </p:custDataLst>
          </p:nvPr>
        </p:nvCxnSpPr>
        <p:spPr>
          <a:xfrm>
            <a:off x="4276991" y="2747436"/>
            <a:ext cx="0" cy="3216587"/>
          </a:xfrm>
          <a:prstGeom prst="line">
            <a:avLst/>
          </a:prstGeom>
          <a:ln w="19050" cap="flat" cmpd="sng" algn="ctr">
            <a:solidFill>
              <a:schemeClr val="tx2">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1" name="OTLSHAPE_TB_00000000000000000000000000000000_Separator1"/>
          <p:cNvCxnSpPr/>
          <p:nvPr>
            <p:custDataLst>
              <p:tags r:id="rId2"/>
            </p:custDataLst>
          </p:nvPr>
        </p:nvCxnSpPr>
        <p:spPr>
          <a:xfrm>
            <a:off x="5012642" y="2747436"/>
            <a:ext cx="0" cy="3216587"/>
          </a:xfrm>
          <a:prstGeom prst="line">
            <a:avLst/>
          </a:prstGeom>
          <a:ln w="19050" cap="flat" cmpd="sng" algn="ctr">
            <a:solidFill>
              <a:schemeClr val="tx2">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2" name="OTLSHAPE_TB_00000000000000000000000000000000_Separator1"/>
          <p:cNvCxnSpPr/>
          <p:nvPr>
            <p:custDataLst>
              <p:tags r:id="rId3"/>
            </p:custDataLst>
          </p:nvPr>
        </p:nvCxnSpPr>
        <p:spPr>
          <a:xfrm>
            <a:off x="5748294" y="2747436"/>
            <a:ext cx="0" cy="3216587"/>
          </a:xfrm>
          <a:prstGeom prst="line">
            <a:avLst/>
          </a:prstGeom>
          <a:ln w="19050" cap="flat" cmpd="sng" algn="ctr">
            <a:solidFill>
              <a:schemeClr val="tx2">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OTLSHAPE_TB_00000000000000000000000000000000_Separator1"/>
          <p:cNvCxnSpPr/>
          <p:nvPr>
            <p:custDataLst>
              <p:tags r:id="rId4"/>
            </p:custDataLst>
          </p:nvPr>
        </p:nvCxnSpPr>
        <p:spPr>
          <a:xfrm>
            <a:off x="6483945" y="2747436"/>
            <a:ext cx="0" cy="3216587"/>
          </a:xfrm>
          <a:prstGeom prst="line">
            <a:avLst/>
          </a:prstGeom>
          <a:ln w="19050" cap="flat" cmpd="sng" algn="ctr">
            <a:solidFill>
              <a:schemeClr val="tx2">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4" name="OTLSHAPE_TB_00000000000000000000000000000000_Separator1"/>
          <p:cNvCxnSpPr/>
          <p:nvPr>
            <p:custDataLst>
              <p:tags r:id="rId5"/>
            </p:custDataLst>
          </p:nvPr>
        </p:nvCxnSpPr>
        <p:spPr>
          <a:xfrm>
            <a:off x="7219597" y="2747436"/>
            <a:ext cx="0" cy="3216587"/>
          </a:xfrm>
          <a:prstGeom prst="line">
            <a:avLst/>
          </a:prstGeom>
          <a:ln w="19050" cap="flat" cmpd="sng" algn="ctr">
            <a:solidFill>
              <a:schemeClr val="tx2">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5" name="OTLSHAPE_TB_00000000000000000000000000000000_Separator1"/>
          <p:cNvCxnSpPr/>
          <p:nvPr>
            <p:custDataLst>
              <p:tags r:id="rId6"/>
            </p:custDataLst>
          </p:nvPr>
        </p:nvCxnSpPr>
        <p:spPr>
          <a:xfrm>
            <a:off x="7893944" y="2747436"/>
            <a:ext cx="0" cy="3216587"/>
          </a:xfrm>
          <a:prstGeom prst="line">
            <a:avLst/>
          </a:prstGeom>
          <a:ln w="19050" cap="flat" cmpd="sng" algn="ctr">
            <a:solidFill>
              <a:schemeClr val="tx2">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OTLSHAPE_TB_00000000000000000000000000000000_Separator1"/>
          <p:cNvCxnSpPr/>
          <p:nvPr>
            <p:custDataLst>
              <p:tags r:id="rId7"/>
            </p:custDataLst>
          </p:nvPr>
        </p:nvCxnSpPr>
        <p:spPr>
          <a:xfrm>
            <a:off x="8568291" y="2747436"/>
            <a:ext cx="0" cy="3216587"/>
          </a:xfrm>
          <a:prstGeom prst="line">
            <a:avLst/>
          </a:prstGeom>
          <a:ln w="19050" cap="flat" cmpd="sng" algn="ctr">
            <a:solidFill>
              <a:schemeClr val="tx2">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OTLSHAPE_TB_00000000000000000000000000000000_Separator1"/>
          <p:cNvCxnSpPr/>
          <p:nvPr>
            <p:custDataLst>
              <p:tags r:id="rId8"/>
            </p:custDataLst>
          </p:nvPr>
        </p:nvCxnSpPr>
        <p:spPr>
          <a:xfrm>
            <a:off x="9365247" y="2703535"/>
            <a:ext cx="0" cy="3216587"/>
          </a:xfrm>
          <a:prstGeom prst="line">
            <a:avLst/>
          </a:prstGeom>
          <a:ln w="19050" cap="flat" cmpd="sng" algn="ctr">
            <a:solidFill>
              <a:schemeClr val="tx2">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8" name="OTLSHAPE_TB_00000000000000000000000000000000_Separator1"/>
          <p:cNvCxnSpPr/>
          <p:nvPr>
            <p:custDataLst>
              <p:tags r:id="rId9"/>
            </p:custDataLst>
          </p:nvPr>
        </p:nvCxnSpPr>
        <p:spPr>
          <a:xfrm>
            <a:off x="3541340" y="2717193"/>
            <a:ext cx="0" cy="3216587"/>
          </a:xfrm>
          <a:prstGeom prst="line">
            <a:avLst/>
          </a:prstGeom>
          <a:ln w="19050" cap="flat" cmpd="sng" algn="ctr">
            <a:solidFill>
              <a:schemeClr val="tx2">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59" name="Group 158"/>
          <p:cNvGrpSpPr/>
          <p:nvPr/>
        </p:nvGrpSpPr>
        <p:grpSpPr>
          <a:xfrm>
            <a:off x="7050364" y="1146176"/>
            <a:ext cx="1349957" cy="1510764"/>
            <a:chOff x="9239341" y="852352"/>
            <a:chExt cx="1585659" cy="1714432"/>
          </a:xfrm>
        </p:grpSpPr>
        <p:cxnSp>
          <p:nvCxnSpPr>
            <p:cNvPr id="249" name="OTLSHAPE_M_a58f29487c0343c08abcf41913e40cae_Connector1"/>
            <p:cNvCxnSpPr/>
            <p:nvPr>
              <p:custDataLst>
                <p:tags r:id="rId75"/>
              </p:custDataLst>
            </p:nvPr>
          </p:nvCxnSpPr>
          <p:spPr>
            <a:xfrm>
              <a:off x="10225245" y="1499893"/>
              <a:ext cx="0" cy="1066891"/>
            </a:xfrm>
            <a:prstGeom prst="line">
              <a:avLst/>
            </a:prstGeom>
            <a:ln w="9525" cap="flat" cmpd="sng" algn="ctr">
              <a:solidFill>
                <a:schemeClr val="accent6">
                  <a:lumMod val="5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0" name="OTLSHAPE_M_a58f29487c0343c08abcf41913e40cae_Title"/>
            <p:cNvSpPr txBox="1"/>
            <p:nvPr>
              <p:custDataLst>
                <p:tags r:id="rId76"/>
              </p:custDataLst>
            </p:nvPr>
          </p:nvSpPr>
          <p:spPr>
            <a:xfrm>
              <a:off x="9239341" y="852352"/>
              <a:ext cx="1585659" cy="384195"/>
            </a:xfrm>
            <a:prstGeom prst="rect">
              <a:avLst/>
            </a:prstGeom>
            <a:noFill/>
          </p:spPr>
          <p:txBody>
            <a:bodyPr vert="horz" wrap="square" lIns="0" tIns="0" rIns="0" bIns="0" rtlCol="0" anchor="ctr" anchorCtr="0">
              <a:spAutoFit/>
            </a:bodyPr>
            <a:lstStyle/>
            <a:p>
              <a:pPr algn="ctr"/>
              <a:r>
                <a:rPr lang="en-US" sz="1100" b="1" spc="-5" dirty="0">
                  <a:solidFill>
                    <a:schemeClr val="accent6">
                      <a:lumMod val="50000"/>
                    </a:schemeClr>
                  </a:solidFill>
                  <a:latin typeface="Calibri" panose="020F0502020204030204" pitchFamily="34" charset="0"/>
                </a:rPr>
                <a:t>Database</a:t>
              </a:r>
              <a:br>
                <a:rPr lang="en-US" sz="1100" b="1" spc="-5" dirty="0">
                  <a:solidFill>
                    <a:schemeClr val="accent6">
                      <a:lumMod val="50000"/>
                    </a:schemeClr>
                  </a:solidFill>
                  <a:latin typeface="Calibri" panose="020F0502020204030204" pitchFamily="34" charset="0"/>
                </a:rPr>
              </a:br>
              <a:r>
                <a:rPr lang="en-US" sz="1100" b="1" spc="-5" dirty="0">
                  <a:solidFill>
                    <a:schemeClr val="accent6">
                      <a:lumMod val="50000"/>
                    </a:schemeClr>
                  </a:solidFill>
                  <a:latin typeface="Calibri" panose="020F0502020204030204" pitchFamily="34" charset="0"/>
                </a:rPr>
                <a:t> ready to use</a:t>
              </a:r>
            </a:p>
          </p:txBody>
        </p:sp>
        <p:sp>
          <p:nvSpPr>
            <p:cNvPr id="251" name="OTLSHAPE_M_a58f29487c0343c08abcf41913e40cae_Date"/>
            <p:cNvSpPr txBox="1"/>
            <p:nvPr>
              <p:custDataLst>
                <p:tags r:id="rId77"/>
              </p:custDataLst>
            </p:nvPr>
          </p:nvSpPr>
          <p:spPr>
            <a:xfrm>
              <a:off x="9697378" y="1207885"/>
              <a:ext cx="716990" cy="192097"/>
            </a:xfrm>
            <a:prstGeom prst="rect">
              <a:avLst/>
            </a:prstGeom>
            <a:noFill/>
          </p:spPr>
          <p:txBody>
            <a:bodyPr vert="horz" wrap="square" lIns="0" tIns="0" rIns="0" bIns="0" rtlCol="0" anchor="ctr" anchorCtr="0">
              <a:spAutoFit/>
            </a:bodyPr>
            <a:lstStyle/>
            <a:p>
              <a:r>
                <a:rPr lang="en-US" sz="1100" spc="-6" dirty="0">
                  <a:solidFill>
                    <a:srgbClr val="7F7F7F"/>
                  </a:solidFill>
                  <a:latin typeface="Calibri" panose="020F0502020204030204" pitchFamily="34" charset="0"/>
                </a:rPr>
                <a:t>Oct 2018</a:t>
              </a:r>
            </a:p>
          </p:txBody>
        </p:sp>
        <p:sp>
          <p:nvSpPr>
            <p:cNvPr id="252" name="OTLSHAPE_M_a58f29487c0343c08abcf41913e40cae_Shape"/>
            <p:cNvSpPr/>
            <p:nvPr>
              <p:custDataLst>
                <p:tags r:id="rId78"/>
              </p:custDataLst>
            </p:nvPr>
          </p:nvSpPr>
          <p:spPr>
            <a:xfrm rot="16200000">
              <a:off x="10250645" y="1499892"/>
              <a:ext cx="165100" cy="165100"/>
            </a:xfrm>
            <a:prstGeom prst="flowChartMerge">
              <a:avLst/>
            </a:prstGeom>
            <a:solidFill>
              <a:schemeClr val="accent6">
                <a:lumMod val="50000"/>
              </a:schemeClr>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sp>
        <p:nvSpPr>
          <p:cNvPr id="161" name="OTLSHAPE_TB_00000000000000000000000000000000_ScaleContainer"/>
          <p:cNvSpPr/>
          <p:nvPr>
            <p:custDataLst>
              <p:tags r:id="rId10"/>
            </p:custDataLst>
          </p:nvPr>
        </p:nvSpPr>
        <p:spPr>
          <a:xfrm>
            <a:off x="2647316" y="2661237"/>
            <a:ext cx="6963244" cy="335739"/>
          </a:xfrm>
          <a:prstGeom prst="roundRect">
            <a:avLst>
              <a:gd name="adj" fmla="val 100000"/>
            </a:avLst>
          </a:prstGeom>
          <a:solidFill>
            <a:schemeClr val="bg2"/>
          </a:solidFill>
          <a:ln w="12700" cap="flat" cmpd="sng" algn="ctr">
            <a:noFill/>
            <a:prstDash val="solid"/>
            <a:miter lim="800000"/>
          </a:ln>
          <a:effectLst>
            <a:reflection blurRad="6350" stA="50000" endA="300" endPos="55500" dist="50800" dir="5400000" sy="-100000" algn="bl" rotWithShape="0"/>
          </a:effectLst>
          <a:scene3d>
            <a:camera prst="orthographicFront"/>
            <a:lightRig rig="threePt" dir="t">
              <a:rot lat="0" lon="0" rev="8700000"/>
            </a:lightRig>
          </a:scene3d>
          <a:sp3d>
            <a:bevelT w="165100" h="19050"/>
          </a:sp3d>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62" name="OTLSHAPE_TB_00000000000000000000000000000000_LeftEndCaps"/>
          <p:cNvSpPr txBox="1"/>
          <p:nvPr>
            <p:custDataLst>
              <p:tags r:id="rId11"/>
            </p:custDataLst>
          </p:nvPr>
        </p:nvSpPr>
        <p:spPr>
          <a:xfrm>
            <a:off x="2050412" y="2690609"/>
            <a:ext cx="441724" cy="276999"/>
          </a:xfrm>
          <a:prstGeom prst="rect">
            <a:avLst/>
          </a:prstGeom>
          <a:noFill/>
        </p:spPr>
        <p:txBody>
          <a:bodyPr vert="horz" wrap="none" lIns="0" tIns="0" rIns="0" bIns="0" rtlCol="0" anchor="ctr" anchorCtr="0">
            <a:spAutoFit/>
          </a:bodyPr>
          <a:lstStyle/>
          <a:p>
            <a:pPr algn="ctr"/>
            <a:r>
              <a:rPr lang="en-US" spc="-27" dirty="0">
                <a:solidFill>
                  <a:srgbClr val="C0504D"/>
                </a:solidFill>
                <a:latin typeface="Corbel" panose="020B0503020204020204" pitchFamily="34" charset="0"/>
              </a:rPr>
              <a:t>2018</a:t>
            </a:r>
          </a:p>
        </p:txBody>
      </p:sp>
      <p:sp>
        <p:nvSpPr>
          <p:cNvPr id="163" name="OTLSHAPE_TB_00000000000000000000000000000000_RightEndCaps"/>
          <p:cNvSpPr txBox="1"/>
          <p:nvPr>
            <p:custDataLst>
              <p:tags r:id="rId12"/>
            </p:custDataLst>
          </p:nvPr>
        </p:nvSpPr>
        <p:spPr>
          <a:xfrm>
            <a:off x="9712745" y="2690609"/>
            <a:ext cx="1093056" cy="276999"/>
          </a:xfrm>
          <a:prstGeom prst="rect">
            <a:avLst/>
          </a:prstGeom>
          <a:noFill/>
        </p:spPr>
        <p:txBody>
          <a:bodyPr vert="horz" wrap="none" lIns="0" tIns="0" rIns="0" bIns="0" rtlCol="0" anchor="ctr" anchorCtr="0">
            <a:spAutoFit/>
          </a:bodyPr>
          <a:lstStyle/>
          <a:p>
            <a:pPr algn="ctr"/>
            <a:r>
              <a:rPr lang="en-US" spc="-27" dirty="0">
                <a:solidFill>
                  <a:srgbClr val="C0504D"/>
                </a:solidFill>
                <a:latin typeface="Corbel" panose="020B0503020204020204" pitchFamily="34" charset="0"/>
              </a:rPr>
              <a:t>2019 .. 2020</a:t>
            </a:r>
          </a:p>
        </p:txBody>
      </p:sp>
      <p:grpSp>
        <p:nvGrpSpPr>
          <p:cNvPr id="168" name="Group 167"/>
          <p:cNvGrpSpPr/>
          <p:nvPr/>
        </p:nvGrpSpPr>
        <p:grpSpPr>
          <a:xfrm>
            <a:off x="1271331" y="2933797"/>
            <a:ext cx="2288573" cy="507830"/>
            <a:chOff x="1328482" y="3847214"/>
            <a:chExt cx="4340692" cy="342990"/>
          </a:xfrm>
        </p:grpSpPr>
        <p:sp>
          <p:nvSpPr>
            <p:cNvPr id="233" name="OTLSHAPE_T_06a6a20021ea4acdac20b41f7b37b0dd_Shape"/>
            <p:cNvSpPr/>
            <p:nvPr>
              <p:custDataLst>
                <p:tags r:id="rId72"/>
              </p:custDataLst>
            </p:nvPr>
          </p:nvSpPr>
          <p:spPr>
            <a:xfrm>
              <a:off x="2517541" y="4021095"/>
              <a:ext cx="3151633" cy="156918"/>
            </a:xfrm>
            <a:prstGeom prst="roundRect">
              <a:avLst>
                <a:gd name="adj" fmla="val 100000"/>
              </a:avLst>
            </a:prstGeom>
            <a:solidFill>
              <a:srgbClr val="0085B3"/>
            </a:solidFill>
            <a:ln w="12700" cap="flat" cmpd="sng" algn="ctr">
              <a:noFill/>
              <a:prstDash val="solid"/>
              <a:miter lim="800000"/>
            </a:ln>
            <a:effectLst/>
            <a:scene3d>
              <a:camera prst="orthographicFront"/>
              <a:lightRig rig="balanced" dir="t">
                <a:rot lat="0" lon="0" rev="8700000"/>
              </a:lightRig>
            </a:scene3d>
            <a:sp3d>
              <a:bevelT w="165100"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bg1"/>
                </a:solidFill>
              </a:endParaRPr>
            </a:p>
          </p:txBody>
        </p:sp>
        <p:sp>
          <p:nvSpPr>
            <p:cNvPr id="234" name="OTLSHAPE_T_06a6a20021ea4acdac20b41f7b37b0dd_Title"/>
            <p:cNvSpPr txBox="1"/>
            <p:nvPr>
              <p:custDataLst>
                <p:tags r:id="rId73"/>
              </p:custDataLst>
            </p:nvPr>
          </p:nvSpPr>
          <p:spPr>
            <a:xfrm>
              <a:off x="1328482" y="3847214"/>
              <a:ext cx="1041526" cy="342990"/>
            </a:xfrm>
            <a:prstGeom prst="rect">
              <a:avLst/>
            </a:prstGeom>
            <a:noFill/>
          </p:spPr>
          <p:txBody>
            <a:bodyPr vert="horz" wrap="square" lIns="0" tIns="0" rIns="0" bIns="0" rtlCol="0" anchor="ctr" anchorCtr="0">
              <a:spAutoFit/>
            </a:bodyPr>
            <a:lstStyle/>
            <a:p>
              <a:pPr algn="r"/>
              <a:r>
                <a:rPr lang="en-US" sz="1100" b="1" spc="-6" dirty="0">
                  <a:latin typeface="Calibri" panose="020F0502020204030204" pitchFamily="34" charset="0"/>
                </a:rPr>
                <a:t>DevOps infrastructure</a:t>
              </a:r>
            </a:p>
          </p:txBody>
        </p:sp>
        <p:sp>
          <p:nvSpPr>
            <p:cNvPr id="235" name="OTLSHAPE_T_06a6a20021ea4acdac20b41f7b37b0dd_JoinedDate"/>
            <p:cNvSpPr txBox="1"/>
            <p:nvPr>
              <p:custDataLst>
                <p:tags r:id="rId74"/>
              </p:custDataLst>
            </p:nvPr>
          </p:nvSpPr>
          <p:spPr>
            <a:xfrm>
              <a:off x="3491997" y="4043627"/>
              <a:ext cx="1278689" cy="114330"/>
            </a:xfrm>
            <a:prstGeom prst="rect">
              <a:avLst/>
            </a:prstGeom>
            <a:noFill/>
          </p:spPr>
          <p:txBody>
            <a:bodyPr vert="horz" wrap="square" lIns="0" tIns="0" rIns="0" bIns="0" rtlCol="0" anchor="ctr" anchorCtr="0">
              <a:spAutoFit/>
            </a:bodyPr>
            <a:lstStyle/>
            <a:p>
              <a:r>
                <a:rPr lang="en-US" sz="1100" spc="-3" dirty="0">
                  <a:solidFill>
                    <a:schemeClr val="bg1"/>
                  </a:solidFill>
                  <a:latin typeface="Calibri" panose="020F0502020204030204" pitchFamily="34" charset="0"/>
                </a:rPr>
                <a:t>Sep - Apr</a:t>
              </a:r>
            </a:p>
          </p:txBody>
        </p:sp>
      </p:grpSp>
      <p:grpSp>
        <p:nvGrpSpPr>
          <p:cNvPr id="169" name="Group 168"/>
          <p:cNvGrpSpPr/>
          <p:nvPr/>
        </p:nvGrpSpPr>
        <p:grpSpPr>
          <a:xfrm>
            <a:off x="983291" y="4026576"/>
            <a:ext cx="4031343" cy="338554"/>
            <a:chOff x="2258359" y="4195322"/>
            <a:chExt cx="4638757" cy="357611"/>
          </a:xfrm>
        </p:grpSpPr>
        <p:sp>
          <p:nvSpPr>
            <p:cNvPr id="230" name="OTLSHAPE_T_e6f5c918bdd649a1ac919cf22468a23b_Shape"/>
            <p:cNvSpPr/>
            <p:nvPr>
              <p:custDataLst>
                <p:tags r:id="rId69"/>
              </p:custDataLst>
            </p:nvPr>
          </p:nvSpPr>
          <p:spPr>
            <a:xfrm>
              <a:off x="4376920" y="4248684"/>
              <a:ext cx="2520196" cy="222424"/>
            </a:xfrm>
            <a:prstGeom prst="roundRect">
              <a:avLst>
                <a:gd name="adj" fmla="val 100000"/>
              </a:avLst>
            </a:prstGeom>
            <a:solidFill>
              <a:schemeClr val="accent3"/>
            </a:solidFill>
            <a:ln w="12700" cap="flat" cmpd="sng" algn="ctr">
              <a:noFill/>
              <a:prstDash val="solid"/>
              <a:miter lim="800000"/>
            </a:ln>
            <a:effectLst/>
            <a:scene3d>
              <a:camera prst="orthographicFront"/>
              <a:lightRig rig="balanced" dir="t">
                <a:rot lat="0" lon="0" rev="8700000"/>
              </a:lightRig>
            </a:scene3d>
            <a:sp3d>
              <a:bevelT w="165100"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31" name="OTLSHAPE_T_e6f5c918bdd649a1ac919cf22468a23b_Title"/>
            <p:cNvSpPr txBox="1"/>
            <p:nvPr>
              <p:custDataLst>
                <p:tags r:id="rId70"/>
              </p:custDataLst>
            </p:nvPr>
          </p:nvSpPr>
          <p:spPr>
            <a:xfrm>
              <a:off x="2258359" y="4195322"/>
              <a:ext cx="1985631" cy="357611"/>
            </a:xfrm>
            <a:prstGeom prst="rect">
              <a:avLst/>
            </a:prstGeom>
            <a:noFill/>
          </p:spPr>
          <p:txBody>
            <a:bodyPr vert="horz" wrap="square" lIns="0" tIns="0" rIns="0" bIns="0" rtlCol="0" anchor="ctr" anchorCtr="0">
              <a:spAutoFit/>
            </a:bodyPr>
            <a:lstStyle/>
            <a:p>
              <a:pPr algn="r"/>
              <a:r>
                <a:rPr lang="en-US" sz="1100" b="1" dirty="0">
                  <a:solidFill>
                    <a:srgbClr val="000000"/>
                  </a:solidFill>
                  <a:latin typeface="Calibri"/>
                </a:rPr>
                <a:t>WebAPI (REST) </a:t>
              </a:r>
              <a:br>
                <a:rPr lang="pl-PL" sz="1100" b="1" dirty="0">
                  <a:solidFill>
                    <a:srgbClr val="000000"/>
                  </a:solidFill>
                  <a:latin typeface="Calibri"/>
                </a:rPr>
              </a:br>
              <a:r>
                <a:rPr lang="en-US" sz="1100" b="1" dirty="0">
                  <a:solidFill>
                    <a:srgbClr val="000000"/>
                  </a:solidFill>
                  <a:latin typeface="Calibri"/>
                </a:rPr>
                <a:t>test modules</a:t>
              </a:r>
            </a:p>
          </p:txBody>
        </p:sp>
        <p:sp>
          <p:nvSpPr>
            <p:cNvPr id="232" name="OTLSHAPE_T_e6f5c918bdd649a1ac919cf22468a23b_JoinedDate"/>
            <p:cNvSpPr txBox="1"/>
            <p:nvPr>
              <p:custDataLst>
                <p:tags r:id="rId71"/>
              </p:custDataLst>
            </p:nvPr>
          </p:nvSpPr>
          <p:spPr>
            <a:xfrm>
              <a:off x="5360779" y="4265605"/>
              <a:ext cx="1063889" cy="178806"/>
            </a:xfrm>
            <a:prstGeom prst="rect">
              <a:avLst/>
            </a:prstGeom>
            <a:noFill/>
          </p:spPr>
          <p:txBody>
            <a:bodyPr vert="horz" wrap="square" lIns="0" tIns="0" rIns="0" bIns="0" rtlCol="0" anchor="ctr" anchorCtr="0">
              <a:spAutoFit/>
            </a:bodyPr>
            <a:lstStyle/>
            <a:p>
              <a:r>
                <a:rPr lang="en-US" sz="1100" spc="-3" dirty="0">
                  <a:solidFill>
                    <a:schemeClr val="bg1"/>
                  </a:solidFill>
                  <a:latin typeface="Calibri" panose="020F0502020204030204" pitchFamily="34" charset="0"/>
                </a:rPr>
                <a:t>Mar - Jun</a:t>
              </a:r>
            </a:p>
          </p:txBody>
        </p:sp>
      </p:grpSp>
      <p:sp>
        <p:nvSpPr>
          <p:cNvPr id="173" name="OTLSHAPE_TB_00000000000000000000000000000000_TimescaleInterval7"/>
          <p:cNvSpPr txBox="1"/>
          <p:nvPr>
            <p:custDataLst>
              <p:tags r:id="rId13"/>
            </p:custDataLst>
          </p:nvPr>
        </p:nvSpPr>
        <p:spPr>
          <a:xfrm>
            <a:off x="2999570" y="2747131"/>
            <a:ext cx="168934" cy="163952"/>
          </a:xfrm>
          <a:prstGeom prst="rect">
            <a:avLst/>
          </a:prstGeom>
          <a:noFill/>
          <a:ln>
            <a:noFill/>
          </a:ln>
        </p:spPr>
        <p:txBody>
          <a:bodyPr vert="horz" wrap="none" lIns="0" tIns="0" rIns="0" bIns="0" rtlCol="0" anchor="ctr" anchorCtr="0">
            <a:noAutofit/>
          </a:bodyPr>
          <a:lstStyle/>
          <a:p>
            <a:r>
              <a:rPr lang="en-US" spc="-15" dirty="0">
                <a:latin typeface="Calibri" panose="020F0502020204030204" pitchFamily="34" charset="0"/>
              </a:rPr>
              <a:t>Apr</a:t>
            </a:r>
          </a:p>
        </p:txBody>
      </p:sp>
      <p:sp>
        <p:nvSpPr>
          <p:cNvPr id="174" name="OTLSHAPE_TB_00000000000000000000000000000000_TimescaleInterval8"/>
          <p:cNvSpPr txBox="1"/>
          <p:nvPr>
            <p:custDataLst>
              <p:tags r:id="rId14"/>
            </p:custDataLst>
          </p:nvPr>
        </p:nvSpPr>
        <p:spPr>
          <a:xfrm>
            <a:off x="3735241" y="2747131"/>
            <a:ext cx="160541" cy="163952"/>
          </a:xfrm>
          <a:prstGeom prst="rect">
            <a:avLst/>
          </a:prstGeom>
          <a:noFill/>
          <a:ln>
            <a:noFill/>
          </a:ln>
        </p:spPr>
        <p:txBody>
          <a:bodyPr vert="horz" wrap="none" lIns="0" tIns="0" rIns="0" bIns="0" rtlCol="0" anchor="ctr" anchorCtr="0">
            <a:noAutofit/>
          </a:bodyPr>
          <a:lstStyle/>
          <a:p>
            <a:r>
              <a:rPr lang="en-US" spc="-17" dirty="0">
                <a:latin typeface="Calibri" panose="020F0502020204030204" pitchFamily="34" charset="0"/>
              </a:rPr>
              <a:t>May</a:t>
            </a:r>
          </a:p>
        </p:txBody>
      </p:sp>
      <p:sp>
        <p:nvSpPr>
          <p:cNvPr id="175" name="OTLSHAPE_TB_00000000000000000000000000000000_TimescaleInterval2"/>
          <p:cNvSpPr txBox="1"/>
          <p:nvPr>
            <p:custDataLst>
              <p:tags r:id="rId15"/>
            </p:custDataLst>
          </p:nvPr>
        </p:nvSpPr>
        <p:spPr>
          <a:xfrm>
            <a:off x="4450255" y="2747131"/>
            <a:ext cx="143271" cy="163952"/>
          </a:xfrm>
          <a:prstGeom prst="rect">
            <a:avLst/>
          </a:prstGeom>
          <a:noFill/>
          <a:ln>
            <a:noFill/>
          </a:ln>
        </p:spPr>
        <p:txBody>
          <a:bodyPr vert="horz" wrap="none" lIns="0" tIns="0" rIns="0" bIns="0" rtlCol="0" anchor="ctr" anchorCtr="0">
            <a:noAutofit/>
          </a:bodyPr>
          <a:lstStyle/>
          <a:p>
            <a:r>
              <a:rPr lang="en-US" spc="-14" dirty="0">
                <a:latin typeface="Calibri" panose="020F0502020204030204" pitchFamily="34" charset="0"/>
              </a:rPr>
              <a:t>Jun</a:t>
            </a:r>
          </a:p>
        </p:txBody>
      </p:sp>
      <p:sp>
        <p:nvSpPr>
          <p:cNvPr id="176" name="OTLSHAPE_TB_00000000000000000000000000000000_TimescaleInterval2"/>
          <p:cNvSpPr txBox="1"/>
          <p:nvPr>
            <p:custDataLst>
              <p:tags r:id="rId16"/>
            </p:custDataLst>
          </p:nvPr>
        </p:nvSpPr>
        <p:spPr>
          <a:xfrm>
            <a:off x="5185886" y="2747131"/>
            <a:ext cx="143271" cy="163952"/>
          </a:xfrm>
          <a:prstGeom prst="rect">
            <a:avLst/>
          </a:prstGeom>
          <a:noFill/>
          <a:ln>
            <a:noFill/>
          </a:ln>
        </p:spPr>
        <p:txBody>
          <a:bodyPr vert="horz" wrap="none" lIns="0" tIns="0" rIns="0" bIns="0" rtlCol="0" anchor="ctr" anchorCtr="0">
            <a:noAutofit/>
          </a:bodyPr>
          <a:lstStyle/>
          <a:p>
            <a:r>
              <a:rPr lang="en-US" spc="-14" dirty="0">
                <a:latin typeface="Calibri" panose="020F0502020204030204" pitchFamily="34" charset="0"/>
              </a:rPr>
              <a:t>Jul</a:t>
            </a:r>
          </a:p>
        </p:txBody>
      </p:sp>
      <p:sp>
        <p:nvSpPr>
          <p:cNvPr id="177" name="OTLSHAPE_TB_00000000000000000000000000000000_TimescaleInterval2"/>
          <p:cNvSpPr txBox="1"/>
          <p:nvPr>
            <p:custDataLst>
              <p:tags r:id="rId17"/>
            </p:custDataLst>
          </p:nvPr>
        </p:nvSpPr>
        <p:spPr>
          <a:xfrm>
            <a:off x="5819593" y="2747131"/>
            <a:ext cx="143271" cy="163952"/>
          </a:xfrm>
          <a:prstGeom prst="rect">
            <a:avLst/>
          </a:prstGeom>
          <a:noFill/>
          <a:ln>
            <a:noFill/>
          </a:ln>
        </p:spPr>
        <p:txBody>
          <a:bodyPr vert="horz" wrap="none" lIns="0" tIns="0" rIns="0" bIns="0" rtlCol="0" anchor="ctr" anchorCtr="0">
            <a:noAutofit/>
          </a:bodyPr>
          <a:lstStyle/>
          <a:p>
            <a:r>
              <a:rPr lang="en-US" spc="-14" dirty="0">
                <a:latin typeface="Calibri" panose="020F0502020204030204" pitchFamily="34" charset="0"/>
              </a:rPr>
              <a:t>Aug</a:t>
            </a:r>
          </a:p>
        </p:txBody>
      </p:sp>
      <p:sp>
        <p:nvSpPr>
          <p:cNvPr id="178" name="OTLSHAPE_TB_00000000000000000000000000000000_TimescaleInterval2"/>
          <p:cNvSpPr txBox="1"/>
          <p:nvPr>
            <p:custDataLst>
              <p:tags r:id="rId18"/>
            </p:custDataLst>
          </p:nvPr>
        </p:nvSpPr>
        <p:spPr>
          <a:xfrm>
            <a:off x="6657189" y="2747131"/>
            <a:ext cx="143271" cy="163952"/>
          </a:xfrm>
          <a:prstGeom prst="rect">
            <a:avLst/>
          </a:prstGeom>
          <a:noFill/>
          <a:ln>
            <a:noFill/>
          </a:ln>
        </p:spPr>
        <p:txBody>
          <a:bodyPr vert="horz" wrap="none" lIns="0" tIns="0" rIns="0" bIns="0" rtlCol="0" anchor="ctr" anchorCtr="0">
            <a:noAutofit/>
          </a:bodyPr>
          <a:lstStyle/>
          <a:p>
            <a:r>
              <a:rPr lang="en-US" spc="-14" dirty="0">
                <a:latin typeface="Calibri" panose="020F0502020204030204" pitchFamily="34" charset="0"/>
              </a:rPr>
              <a:t>Sep</a:t>
            </a:r>
          </a:p>
        </p:txBody>
      </p:sp>
      <p:grpSp>
        <p:nvGrpSpPr>
          <p:cNvPr id="179" name="Group 178"/>
          <p:cNvGrpSpPr/>
          <p:nvPr/>
        </p:nvGrpSpPr>
        <p:grpSpPr>
          <a:xfrm>
            <a:off x="1799260" y="4503657"/>
            <a:ext cx="3936690" cy="241428"/>
            <a:chOff x="3021380" y="4515175"/>
            <a:chExt cx="4461698" cy="258699"/>
          </a:xfrm>
        </p:grpSpPr>
        <p:sp>
          <p:nvSpPr>
            <p:cNvPr id="227" name="OTLSHAPE_T_e6f5c918bdd649a1ac919cf22468a23b_Shape"/>
            <p:cNvSpPr/>
            <p:nvPr>
              <p:custDataLst>
                <p:tags r:id="rId66"/>
              </p:custDataLst>
            </p:nvPr>
          </p:nvSpPr>
          <p:spPr>
            <a:xfrm>
              <a:off x="4966821" y="4515175"/>
              <a:ext cx="2516257" cy="258699"/>
            </a:xfrm>
            <a:prstGeom prst="roundRect">
              <a:avLst>
                <a:gd name="adj" fmla="val 100000"/>
              </a:avLst>
            </a:prstGeom>
            <a:solidFill>
              <a:srgbClr val="00B050"/>
            </a:solidFill>
            <a:ln w="12700" cap="flat" cmpd="sng" algn="ctr">
              <a:noFill/>
              <a:prstDash val="solid"/>
              <a:miter lim="800000"/>
            </a:ln>
            <a:effectLst/>
            <a:scene3d>
              <a:camera prst="orthographicFront"/>
              <a:lightRig rig="balanced" dir="t">
                <a:rot lat="0" lon="0" rev="8700000"/>
              </a:lightRig>
            </a:scene3d>
            <a:sp3d>
              <a:bevelT w="165100"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bg1"/>
                </a:solidFill>
              </a:endParaRPr>
            </a:p>
          </p:txBody>
        </p:sp>
        <p:sp>
          <p:nvSpPr>
            <p:cNvPr id="228" name="OTLSHAPE_T_e6f5c918bdd649a1ac919cf22468a23b_Title"/>
            <p:cNvSpPr txBox="1"/>
            <p:nvPr>
              <p:custDataLst>
                <p:tags r:id="rId67"/>
              </p:custDataLst>
            </p:nvPr>
          </p:nvSpPr>
          <p:spPr>
            <a:xfrm>
              <a:off x="3021380" y="4575217"/>
              <a:ext cx="1688794" cy="181387"/>
            </a:xfrm>
            <a:prstGeom prst="rect">
              <a:avLst/>
            </a:prstGeom>
            <a:noFill/>
          </p:spPr>
          <p:txBody>
            <a:bodyPr vert="horz" wrap="square" lIns="0" tIns="0" rIns="0" bIns="0" rtlCol="0" anchor="ctr" anchorCtr="0">
              <a:spAutoFit/>
            </a:bodyPr>
            <a:lstStyle/>
            <a:p>
              <a:pPr algn="r"/>
              <a:r>
                <a:rPr lang="en-US" sz="1100" b="1" dirty="0">
                  <a:solidFill>
                    <a:srgbClr val="000000"/>
                  </a:solidFill>
                  <a:latin typeface="Calibri"/>
                </a:rPr>
                <a:t>Security test modules</a:t>
              </a:r>
            </a:p>
          </p:txBody>
        </p:sp>
        <p:sp>
          <p:nvSpPr>
            <p:cNvPr id="229" name="OTLSHAPE_T_e6f5c918bdd649a1ac919cf22468a23b_JoinedDate"/>
            <p:cNvSpPr txBox="1"/>
            <p:nvPr>
              <p:custDataLst>
                <p:tags r:id="rId68"/>
              </p:custDataLst>
            </p:nvPr>
          </p:nvSpPr>
          <p:spPr>
            <a:xfrm>
              <a:off x="5961665" y="4517340"/>
              <a:ext cx="792783" cy="256534"/>
            </a:xfrm>
            <a:prstGeom prst="rect">
              <a:avLst/>
            </a:prstGeom>
            <a:noFill/>
          </p:spPr>
          <p:txBody>
            <a:bodyPr vert="horz" wrap="square" lIns="0" tIns="0" rIns="0" bIns="0" rtlCol="0" anchor="ctr" anchorCtr="0">
              <a:normAutofit/>
            </a:bodyPr>
            <a:lstStyle/>
            <a:p>
              <a:r>
                <a:rPr lang="en-US" sz="1100" spc="-3" dirty="0">
                  <a:solidFill>
                    <a:schemeClr val="bg1"/>
                  </a:solidFill>
                  <a:latin typeface="Calibri" panose="020F0502020204030204" pitchFamily="34" charset="0"/>
                </a:rPr>
                <a:t>May - Jul </a:t>
              </a:r>
            </a:p>
          </p:txBody>
        </p:sp>
      </p:grpSp>
      <p:grpSp>
        <p:nvGrpSpPr>
          <p:cNvPr id="180" name="Group 179"/>
          <p:cNvGrpSpPr/>
          <p:nvPr/>
        </p:nvGrpSpPr>
        <p:grpSpPr>
          <a:xfrm>
            <a:off x="3087933" y="4831287"/>
            <a:ext cx="4808267" cy="253946"/>
            <a:chOff x="3920727" y="4744101"/>
            <a:chExt cx="5647789" cy="242455"/>
          </a:xfrm>
        </p:grpSpPr>
        <p:sp>
          <p:nvSpPr>
            <p:cNvPr id="224" name="OTLSHAPE_T_e6f5c918bdd649a1ac919cf22468a23b_Shape"/>
            <p:cNvSpPr/>
            <p:nvPr>
              <p:custDataLst>
                <p:tags r:id="rId63"/>
              </p:custDataLst>
            </p:nvPr>
          </p:nvSpPr>
          <p:spPr>
            <a:xfrm>
              <a:off x="6105159" y="4744101"/>
              <a:ext cx="3463357" cy="242455"/>
            </a:xfrm>
            <a:prstGeom prst="roundRect">
              <a:avLst>
                <a:gd name="adj" fmla="val 100000"/>
              </a:avLst>
            </a:prstGeom>
            <a:solidFill>
              <a:srgbClr val="FFC000"/>
            </a:solidFill>
            <a:ln w="12700" cap="flat" cmpd="sng" algn="ctr">
              <a:noFill/>
              <a:prstDash val="solid"/>
              <a:miter lim="800000"/>
            </a:ln>
            <a:effectLst/>
            <a:scene3d>
              <a:camera prst="orthographicFront"/>
              <a:lightRig rig="balanced" dir="t">
                <a:rot lat="0" lon="0" rev="8700000"/>
              </a:lightRig>
            </a:scene3d>
            <a:sp3d>
              <a:bevelT w="165100"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bg1"/>
                </a:solidFill>
              </a:endParaRPr>
            </a:p>
          </p:txBody>
        </p:sp>
        <p:sp>
          <p:nvSpPr>
            <p:cNvPr id="225" name="OTLSHAPE_T_e6f5c918bdd649a1ac919cf22468a23b_Title"/>
            <p:cNvSpPr txBox="1"/>
            <p:nvPr>
              <p:custDataLst>
                <p:tags r:id="rId64"/>
              </p:custDataLst>
            </p:nvPr>
          </p:nvSpPr>
          <p:spPr>
            <a:xfrm>
              <a:off x="3920727" y="4813819"/>
              <a:ext cx="2072978" cy="161617"/>
            </a:xfrm>
            <a:prstGeom prst="rect">
              <a:avLst/>
            </a:prstGeom>
            <a:noFill/>
          </p:spPr>
          <p:txBody>
            <a:bodyPr vert="horz" wrap="square" lIns="0" tIns="0" rIns="0" bIns="0" rtlCol="0" anchor="ctr" anchorCtr="0">
              <a:spAutoFit/>
            </a:bodyPr>
            <a:lstStyle/>
            <a:p>
              <a:pPr algn="r"/>
              <a:r>
                <a:rPr lang="en-US" sz="1100" b="1" dirty="0">
                  <a:solidFill>
                    <a:srgbClr val="000000"/>
                  </a:solidFill>
                  <a:latin typeface="Calibri"/>
                </a:rPr>
                <a:t>Database (SQL) test modules</a:t>
              </a:r>
            </a:p>
          </p:txBody>
        </p:sp>
        <p:sp>
          <p:nvSpPr>
            <p:cNvPr id="226" name="OTLSHAPE_T_e6f5c918bdd649a1ac919cf22468a23b_JoinedDate"/>
            <p:cNvSpPr txBox="1"/>
            <p:nvPr>
              <p:custDataLst>
                <p:tags r:id="rId65"/>
              </p:custDataLst>
            </p:nvPr>
          </p:nvSpPr>
          <p:spPr>
            <a:xfrm>
              <a:off x="7487493" y="4796003"/>
              <a:ext cx="673100" cy="161617"/>
            </a:xfrm>
            <a:prstGeom prst="rect">
              <a:avLst/>
            </a:prstGeom>
            <a:noFill/>
          </p:spPr>
          <p:txBody>
            <a:bodyPr vert="horz" wrap="square" lIns="0" tIns="0" rIns="0" bIns="0" rtlCol="0" anchor="ctr" anchorCtr="0">
              <a:spAutoFit/>
            </a:bodyPr>
            <a:lstStyle/>
            <a:p>
              <a:r>
                <a:rPr lang="pl-PL" sz="1100" spc="-3" dirty="0" err="1">
                  <a:solidFill>
                    <a:schemeClr val="bg1"/>
                  </a:solidFill>
                  <a:latin typeface="Calibri" panose="020F0502020204030204" pitchFamily="34" charset="0"/>
                </a:rPr>
                <a:t>Jun</a:t>
              </a:r>
              <a:r>
                <a:rPr lang="en-US" sz="1100" spc="-3" dirty="0">
                  <a:solidFill>
                    <a:schemeClr val="bg1"/>
                  </a:solidFill>
                  <a:latin typeface="Calibri" panose="020F0502020204030204" pitchFamily="34" charset="0"/>
                </a:rPr>
                <a:t> - Sep</a:t>
              </a:r>
            </a:p>
          </p:txBody>
        </p:sp>
      </p:grpSp>
      <p:grpSp>
        <p:nvGrpSpPr>
          <p:cNvPr id="181" name="Group 180"/>
          <p:cNvGrpSpPr/>
          <p:nvPr/>
        </p:nvGrpSpPr>
        <p:grpSpPr>
          <a:xfrm>
            <a:off x="7118056" y="6166761"/>
            <a:ext cx="2737627" cy="186657"/>
            <a:chOff x="6274009" y="5789820"/>
            <a:chExt cx="3215616" cy="211820"/>
          </a:xfrm>
        </p:grpSpPr>
        <p:sp>
          <p:nvSpPr>
            <p:cNvPr id="221" name="OTLSHAPE_T_e6f5c918bdd649a1ac919cf22468a23b_Shape"/>
            <p:cNvSpPr/>
            <p:nvPr>
              <p:custDataLst>
                <p:tags r:id="rId60"/>
              </p:custDataLst>
            </p:nvPr>
          </p:nvSpPr>
          <p:spPr>
            <a:xfrm>
              <a:off x="9057570" y="5789820"/>
              <a:ext cx="432053" cy="211820"/>
            </a:xfrm>
            <a:prstGeom prst="roundRect">
              <a:avLst>
                <a:gd name="adj" fmla="val 100000"/>
              </a:avLst>
            </a:prstGeom>
            <a:solidFill>
              <a:srgbClr val="7030A0"/>
            </a:solidFill>
            <a:ln w="12700" cap="flat" cmpd="sng" algn="ctr">
              <a:noFill/>
              <a:prstDash val="solid"/>
              <a:miter lim="800000"/>
            </a:ln>
            <a:effectLst/>
            <a:scene3d>
              <a:camera prst="orthographicFront"/>
              <a:lightRig rig="balanced" dir="t">
                <a:rot lat="0" lon="0" rev="8700000"/>
              </a:lightRig>
            </a:scene3d>
            <a:sp3d>
              <a:bevelT w="165100"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bg1"/>
                </a:solidFill>
              </a:endParaRPr>
            </a:p>
          </p:txBody>
        </p:sp>
        <p:sp>
          <p:nvSpPr>
            <p:cNvPr id="222" name="OTLSHAPE_T_e6f5c918bdd649a1ac919cf22468a23b_Title"/>
            <p:cNvSpPr txBox="1"/>
            <p:nvPr>
              <p:custDataLst>
                <p:tags r:id="rId61"/>
              </p:custDataLst>
            </p:nvPr>
          </p:nvSpPr>
          <p:spPr>
            <a:xfrm>
              <a:off x="6274009" y="5809543"/>
              <a:ext cx="2711552" cy="192097"/>
            </a:xfrm>
            <a:prstGeom prst="rect">
              <a:avLst/>
            </a:prstGeom>
            <a:noFill/>
          </p:spPr>
          <p:txBody>
            <a:bodyPr vert="horz" wrap="square" lIns="0" tIns="0" rIns="0" bIns="0" rtlCol="0" anchor="ctr" anchorCtr="0">
              <a:spAutoFit/>
            </a:bodyPr>
            <a:lstStyle/>
            <a:p>
              <a:pPr algn="r"/>
              <a:r>
                <a:rPr lang="en-US" sz="1100" b="1" dirty="0">
                  <a:solidFill>
                    <a:srgbClr val="000000"/>
                  </a:solidFill>
                  <a:latin typeface="Calibri"/>
                </a:rPr>
                <a:t>Standalone app (SWING) test modules</a:t>
              </a:r>
            </a:p>
          </p:txBody>
        </p:sp>
        <p:sp>
          <p:nvSpPr>
            <p:cNvPr id="223" name="OTLSHAPE_T_e6f5c918bdd649a1ac919cf22468a23b_JoinedDate"/>
            <p:cNvSpPr txBox="1"/>
            <p:nvPr>
              <p:custDataLst>
                <p:tags r:id="rId62"/>
              </p:custDataLst>
            </p:nvPr>
          </p:nvSpPr>
          <p:spPr>
            <a:xfrm>
              <a:off x="9129580" y="5809543"/>
              <a:ext cx="360045" cy="192097"/>
            </a:xfrm>
            <a:prstGeom prst="rect">
              <a:avLst/>
            </a:prstGeom>
            <a:noFill/>
          </p:spPr>
          <p:txBody>
            <a:bodyPr vert="horz" wrap="square" lIns="0" tIns="0" rIns="0" bIns="0" rtlCol="0" anchor="ctr" anchorCtr="0">
              <a:spAutoFit/>
            </a:bodyPr>
            <a:lstStyle/>
            <a:p>
              <a:r>
                <a:rPr lang="en-US" sz="1100" spc="-3" dirty="0">
                  <a:solidFill>
                    <a:schemeClr val="bg1"/>
                  </a:solidFill>
                  <a:latin typeface="Calibri" panose="020F0502020204030204" pitchFamily="34" charset="0"/>
                </a:rPr>
                <a:t>TBD</a:t>
              </a:r>
            </a:p>
          </p:txBody>
        </p:sp>
      </p:grpSp>
      <p:grpSp>
        <p:nvGrpSpPr>
          <p:cNvPr id="183" name="Group 182"/>
          <p:cNvGrpSpPr/>
          <p:nvPr/>
        </p:nvGrpSpPr>
        <p:grpSpPr>
          <a:xfrm>
            <a:off x="6946580" y="5863140"/>
            <a:ext cx="2909100" cy="186651"/>
            <a:chOff x="6072596" y="5445287"/>
            <a:chExt cx="3417029" cy="211814"/>
          </a:xfrm>
        </p:grpSpPr>
        <p:sp>
          <p:nvSpPr>
            <p:cNvPr id="215" name="OTLSHAPE_T_e6f5c918bdd649a1ac919cf22468a23b_Title"/>
            <p:cNvSpPr txBox="1"/>
            <p:nvPr>
              <p:custDataLst>
                <p:tags r:id="rId57"/>
              </p:custDataLst>
            </p:nvPr>
          </p:nvSpPr>
          <p:spPr>
            <a:xfrm>
              <a:off x="6072596" y="5465004"/>
              <a:ext cx="2912964" cy="192097"/>
            </a:xfrm>
            <a:prstGeom prst="rect">
              <a:avLst/>
            </a:prstGeom>
            <a:noFill/>
          </p:spPr>
          <p:txBody>
            <a:bodyPr vert="horz" wrap="square" lIns="0" tIns="0" rIns="0" bIns="0" rtlCol="0" anchor="ctr" anchorCtr="0">
              <a:spAutoFit/>
            </a:bodyPr>
            <a:lstStyle/>
            <a:p>
              <a:pPr algn="r"/>
              <a:r>
                <a:rPr lang="en-US" sz="1100" b="1" dirty="0">
                  <a:solidFill>
                    <a:srgbClr val="000000"/>
                  </a:solidFill>
                  <a:latin typeface="Calibri"/>
                </a:rPr>
                <a:t>Mobile Grid (Emulators Android)</a:t>
              </a:r>
            </a:p>
          </p:txBody>
        </p:sp>
        <p:sp>
          <p:nvSpPr>
            <p:cNvPr id="216" name="OTLSHAPE_T_e6f5c918bdd649a1ac919cf22468a23b_Shape"/>
            <p:cNvSpPr/>
            <p:nvPr>
              <p:custDataLst>
                <p:tags r:id="rId58"/>
              </p:custDataLst>
            </p:nvPr>
          </p:nvSpPr>
          <p:spPr>
            <a:xfrm>
              <a:off x="9057571" y="5445287"/>
              <a:ext cx="432054" cy="211814"/>
            </a:xfrm>
            <a:prstGeom prst="roundRect">
              <a:avLst>
                <a:gd name="adj" fmla="val 100000"/>
              </a:avLst>
            </a:prstGeom>
            <a:solidFill>
              <a:srgbClr val="7030A0"/>
            </a:solidFill>
            <a:ln w="12700" cap="flat" cmpd="sng" algn="ctr">
              <a:noFill/>
              <a:prstDash val="solid"/>
              <a:miter lim="800000"/>
            </a:ln>
            <a:effectLst/>
            <a:scene3d>
              <a:camera prst="orthographicFront"/>
              <a:lightRig rig="balanced" dir="t">
                <a:rot lat="0" lon="0" rev="8700000"/>
              </a:lightRig>
            </a:scene3d>
            <a:sp3d>
              <a:bevelT w="165100"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bg1"/>
                </a:solidFill>
              </a:endParaRPr>
            </a:p>
          </p:txBody>
        </p:sp>
        <p:sp>
          <p:nvSpPr>
            <p:cNvPr id="217" name="OTLSHAPE_T_e6f5c918bdd649a1ac919cf22468a23b_JoinedDate"/>
            <p:cNvSpPr txBox="1"/>
            <p:nvPr>
              <p:custDataLst>
                <p:tags r:id="rId59"/>
              </p:custDataLst>
            </p:nvPr>
          </p:nvSpPr>
          <p:spPr>
            <a:xfrm>
              <a:off x="9129581" y="5465003"/>
              <a:ext cx="315943" cy="192097"/>
            </a:xfrm>
            <a:prstGeom prst="rect">
              <a:avLst/>
            </a:prstGeom>
            <a:noFill/>
          </p:spPr>
          <p:txBody>
            <a:bodyPr vert="horz" wrap="square" lIns="0" tIns="0" rIns="0" bIns="0" rtlCol="0" anchor="ctr" anchorCtr="0">
              <a:spAutoFit/>
            </a:bodyPr>
            <a:lstStyle/>
            <a:p>
              <a:r>
                <a:rPr lang="en-US" sz="1100" spc="-3" dirty="0">
                  <a:solidFill>
                    <a:schemeClr val="bg1"/>
                  </a:solidFill>
                  <a:latin typeface="Calibri" panose="020F0502020204030204" pitchFamily="34" charset="0"/>
                </a:rPr>
                <a:t>TBD</a:t>
              </a:r>
            </a:p>
          </p:txBody>
        </p:sp>
      </p:grpSp>
      <p:grpSp>
        <p:nvGrpSpPr>
          <p:cNvPr id="184" name="Group 183"/>
          <p:cNvGrpSpPr/>
          <p:nvPr/>
        </p:nvGrpSpPr>
        <p:grpSpPr>
          <a:xfrm>
            <a:off x="3148187" y="1794267"/>
            <a:ext cx="735974" cy="849017"/>
            <a:chOff x="5240686" y="1711385"/>
            <a:chExt cx="864474" cy="963475"/>
          </a:xfrm>
        </p:grpSpPr>
        <p:sp>
          <p:nvSpPr>
            <p:cNvPr id="211" name="OTLSHAPE_M_a54bc827b05146d18b559f618723e2b4_Shape"/>
            <p:cNvSpPr/>
            <p:nvPr>
              <p:custDataLst>
                <p:tags r:id="rId54"/>
              </p:custDataLst>
            </p:nvPr>
          </p:nvSpPr>
          <p:spPr>
            <a:xfrm>
              <a:off x="5588166" y="2420860"/>
              <a:ext cx="228600" cy="254000"/>
            </a:xfrm>
            <a:prstGeom prst="teardrop">
              <a:avLst/>
            </a:prstGeom>
            <a:solidFill>
              <a:srgbClr val="087FC3"/>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nvGrpSpPr>
            <p:cNvPr id="212" name="Group 211"/>
            <p:cNvGrpSpPr/>
            <p:nvPr/>
          </p:nvGrpSpPr>
          <p:grpSpPr>
            <a:xfrm>
              <a:off x="5240686" y="1711385"/>
              <a:ext cx="864474" cy="576293"/>
              <a:chOff x="4736970" y="1711385"/>
              <a:chExt cx="864474" cy="576293"/>
            </a:xfrm>
          </p:grpSpPr>
          <p:sp>
            <p:nvSpPr>
              <p:cNvPr id="213" name="OTLSHAPE_M_a54bc827b05146d18b559f618723e2b4_Title"/>
              <p:cNvSpPr txBox="1"/>
              <p:nvPr>
                <p:custDataLst>
                  <p:tags r:id="rId55"/>
                </p:custDataLst>
              </p:nvPr>
            </p:nvSpPr>
            <p:spPr>
              <a:xfrm>
                <a:off x="4736970" y="1711385"/>
                <a:ext cx="864474" cy="384195"/>
              </a:xfrm>
              <a:prstGeom prst="rect">
                <a:avLst/>
              </a:prstGeom>
              <a:noFill/>
            </p:spPr>
            <p:txBody>
              <a:bodyPr vert="horz" wrap="square" lIns="0" tIns="0" rIns="0" bIns="0" rtlCol="0" anchor="ctr" anchorCtr="0">
                <a:spAutoFit/>
              </a:bodyPr>
              <a:lstStyle/>
              <a:p>
                <a:pPr algn="ctr"/>
                <a:r>
                  <a:rPr lang="en-US" sz="1100" b="1" spc="-5" dirty="0">
                    <a:solidFill>
                      <a:srgbClr val="0D88D0"/>
                    </a:solidFill>
                    <a:latin typeface="Calibri" panose="020F0502020204030204" pitchFamily="34" charset="0"/>
                  </a:rPr>
                  <a:t>DevOps module</a:t>
                </a:r>
              </a:p>
            </p:txBody>
          </p:sp>
          <p:sp>
            <p:nvSpPr>
              <p:cNvPr id="214" name="OTLSHAPE_M_a54bc827b05146d18b559f618723e2b4_Date"/>
              <p:cNvSpPr txBox="1"/>
              <p:nvPr>
                <p:custDataLst>
                  <p:tags r:id="rId56"/>
                </p:custDataLst>
              </p:nvPr>
            </p:nvSpPr>
            <p:spPr>
              <a:xfrm>
                <a:off x="4831014" y="2095580"/>
                <a:ext cx="695523" cy="192098"/>
              </a:xfrm>
              <a:prstGeom prst="rect">
                <a:avLst/>
              </a:prstGeom>
              <a:noFill/>
            </p:spPr>
            <p:txBody>
              <a:bodyPr vert="horz" wrap="square" lIns="0" tIns="0" rIns="0" bIns="0" rtlCol="0" anchor="ctr" anchorCtr="0">
                <a:spAutoFit/>
              </a:bodyPr>
              <a:lstStyle/>
              <a:p>
                <a:pPr algn="ctr"/>
                <a:r>
                  <a:rPr lang="pl-PL" sz="1100" spc="-5" dirty="0">
                    <a:solidFill>
                      <a:srgbClr val="7F7F7F"/>
                    </a:solidFill>
                    <a:latin typeface="Calibri" panose="020F0502020204030204" pitchFamily="34" charset="0"/>
                  </a:rPr>
                  <a:t>May</a:t>
                </a:r>
                <a:r>
                  <a:rPr lang="en-US" sz="1100" spc="-5" dirty="0">
                    <a:solidFill>
                      <a:srgbClr val="7F7F7F"/>
                    </a:solidFill>
                    <a:latin typeface="Calibri" panose="020F0502020204030204" pitchFamily="34" charset="0"/>
                  </a:rPr>
                  <a:t>2018</a:t>
                </a:r>
              </a:p>
            </p:txBody>
          </p:sp>
        </p:grpSp>
      </p:grpSp>
      <p:grpSp>
        <p:nvGrpSpPr>
          <p:cNvPr id="5" name="Group 4">
            <a:extLst>
              <a:ext uri="{FF2B5EF4-FFF2-40B4-BE49-F238E27FC236}">
                <a16:creationId xmlns:a16="http://schemas.microsoft.com/office/drawing/2014/main" id="{9B184834-ABB3-494E-9105-297BF78FF843}"/>
              </a:ext>
            </a:extLst>
          </p:cNvPr>
          <p:cNvGrpSpPr/>
          <p:nvPr/>
        </p:nvGrpSpPr>
        <p:grpSpPr>
          <a:xfrm>
            <a:off x="5419917" y="1838723"/>
            <a:ext cx="735974" cy="815295"/>
            <a:chOff x="4304910" y="1829391"/>
            <a:chExt cx="735974" cy="815295"/>
          </a:xfrm>
        </p:grpSpPr>
        <p:sp>
          <p:nvSpPr>
            <p:cNvPr id="185" name="OTLSHAPE_M_a54bc827b05146d18b559f618723e2b4_Shape"/>
            <p:cNvSpPr/>
            <p:nvPr>
              <p:custDataLst>
                <p:tags r:id="rId51"/>
              </p:custDataLst>
            </p:nvPr>
          </p:nvSpPr>
          <p:spPr>
            <a:xfrm>
              <a:off x="4533009" y="2420860"/>
              <a:ext cx="194619" cy="223826"/>
            </a:xfrm>
            <a:prstGeom prst="teardrop">
              <a:avLst/>
            </a:prstGeom>
            <a:solidFill>
              <a:srgbClr val="00B050"/>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86" name="OTLSHAPE_M_a54bc827b05146d18b559f618723e2b4_Date"/>
            <p:cNvSpPr txBox="1"/>
            <p:nvPr>
              <p:custDataLst>
                <p:tags r:id="rId52"/>
              </p:custDataLst>
            </p:nvPr>
          </p:nvSpPr>
          <p:spPr>
            <a:xfrm>
              <a:off x="4397588" y="2174188"/>
              <a:ext cx="497432" cy="169277"/>
            </a:xfrm>
            <a:prstGeom prst="rect">
              <a:avLst/>
            </a:prstGeom>
            <a:noFill/>
          </p:spPr>
          <p:txBody>
            <a:bodyPr vert="horz" wrap="square" lIns="0" tIns="0" rIns="0" bIns="0" rtlCol="0" anchor="ctr" anchorCtr="0">
              <a:spAutoFit/>
            </a:bodyPr>
            <a:lstStyle/>
            <a:p>
              <a:pPr algn="ctr"/>
              <a:r>
                <a:rPr lang="en-US" sz="1100" spc="-5" dirty="0">
                  <a:solidFill>
                    <a:srgbClr val="7F7F7F"/>
                  </a:solidFill>
                  <a:latin typeface="Calibri" panose="020F0502020204030204" pitchFamily="34" charset="0"/>
                </a:rPr>
                <a:t>Jul 2018</a:t>
              </a:r>
            </a:p>
          </p:txBody>
        </p:sp>
        <p:sp>
          <p:nvSpPr>
            <p:cNvPr id="187" name="OTLSHAPE_M_a54bc827b05146d18b559f618723e2b4_Title"/>
            <p:cNvSpPr txBox="1"/>
            <p:nvPr>
              <p:custDataLst>
                <p:tags r:id="rId53"/>
              </p:custDataLst>
            </p:nvPr>
          </p:nvSpPr>
          <p:spPr>
            <a:xfrm>
              <a:off x="4304910" y="1829391"/>
              <a:ext cx="735974" cy="338554"/>
            </a:xfrm>
            <a:prstGeom prst="rect">
              <a:avLst/>
            </a:prstGeom>
            <a:noFill/>
          </p:spPr>
          <p:txBody>
            <a:bodyPr vert="horz" wrap="square" lIns="0" tIns="0" rIns="0" bIns="0" rtlCol="0" anchor="ctr" anchorCtr="0">
              <a:spAutoFit/>
            </a:bodyPr>
            <a:lstStyle/>
            <a:p>
              <a:pPr algn="ctr"/>
              <a:r>
                <a:rPr lang="en-US" sz="1100" b="1" spc="-5" dirty="0">
                  <a:solidFill>
                    <a:srgbClr val="00B050"/>
                  </a:solidFill>
                  <a:latin typeface="Calibri" panose="020F0502020204030204" pitchFamily="34" charset="0"/>
                </a:rPr>
                <a:t>Security module</a:t>
              </a:r>
            </a:p>
          </p:txBody>
        </p:sp>
      </p:grpSp>
      <p:grpSp>
        <p:nvGrpSpPr>
          <p:cNvPr id="188" name="Group 187"/>
          <p:cNvGrpSpPr/>
          <p:nvPr/>
        </p:nvGrpSpPr>
        <p:grpSpPr>
          <a:xfrm>
            <a:off x="10041222" y="2124245"/>
            <a:ext cx="1023468" cy="584654"/>
            <a:chOff x="9383473" y="2396205"/>
            <a:chExt cx="1202164" cy="663472"/>
          </a:xfrm>
        </p:grpSpPr>
        <p:cxnSp>
          <p:nvCxnSpPr>
            <p:cNvPr id="207" name="OTLSHAPE_M_a58f29487c0343c08abcf41913e40cae_Connector1"/>
            <p:cNvCxnSpPr/>
            <p:nvPr>
              <p:custDataLst>
                <p:tags r:id="rId47"/>
              </p:custDataLst>
            </p:nvPr>
          </p:nvCxnSpPr>
          <p:spPr>
            <a:xfrm>
              <a:off x="10243459" y="2618457"/>
              <a:ext cx="7185" cy="441220"/>
            </a:xfrm>
            <a:prstGeom prst="line">
              <a:avLst/>
            </a:prstGeom>
            <a:ln w="9525" cap="flat" cmpd="sng" algn="ctr">
              <a:solidFill>
                <a:schemeClr val="accent6">
                  <a:lumMod val="5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8" name="OTLSHAPE_M_a58f29487c0343c08abcf41913e40cae_Title"/>
            <p:cNvSpPr txBox="1"/>
            <p:nvPr>
              <p:custDataLst>
                <p:tags r:id="rId48"/>
              </p:custDataLst>
            </p:nvPr>
          </p:nvSpPr>
          <p:spPr>
            <a:xfrm>
              <a:off x="9383473" y="2396205"/>
              <a:ext cx="1202164" cy="192097"/>
            </a:xfrm>
            <a:prstGeom prst="rect">
              <a:avLst/>
            </a:prstGeom>
            <a:noFill/>
          </p:spPr>
          <p:txBody>
            <a:bodyPr vert="horz" wrap="square" lIns="0" tIns="0" rIns="0" bIns="0" rtlCol="0" anchor="ctr" anchorCtr="0">
              <a:spAutoFit/>
            </a:bodyPr>
            <a:lstStyle/>
            <a:p>
              <a:r>
                <a:rPr lang="en-US" sz="1100" b="1" spc="-5" dirty="0">
                  <a:solidFill>
                    <a:schemeClr val="accent6">
                      <a:lumMod val="50000"/>
                    </a:schemeClr>
                  </a:solidFill>
                  <a:latin typeface="Calibri" panose="020F0502020204030204" pitchFamily="34" charset="0"/>
                </a:rPr>
                <a:t>E2E ready to use</a:t>
              </a:r>
            </a:p>
          </p:txBody>
        </p:sp>
        <p:sp>
          <p:nvSpPr>
            <p:cNvPr id="209" name="OTLSHAPE_M_a58f29487c0343c08abcf41913e40cae_Date"/>
            <p:cNvSpPr txBox="1"/>
            <p:nvPr>
              <p:custDataLst>
                <p:tags r:id="rId49"/>
              </p:custDataLst>
            </p:nvPr>
          </p:nvSpPr>
          <p:spPr>
            <a:xfrm>
              <a:off x="9522433" y="2622426"/>
              <a:ext cx="728210" cy="192099"/>
            </a:xfrm>
            <a:prstGeom prst="rect">
              <a:avLst/>
            </a:prstGeom>
            <a:noFill/>
          </p:spPr>
          <p:txBody>
            <a:bodyPr vert="horz" wrap="square" lIns="0" tIns="0" rIns="0" bIns="0" rtlCol="0" anchor="ctr" anchorCtr="0">
              <a:spAutoFit/>
            </a:bodyPr>
            <a:lstStyle/>
            <a:p>
              <a:r>
                <a:rPr lang="en-US" sz="1100" spc="-6" dirty="0">
                  <a:solidFill>
                    <a:srgbClr val="7F7F7F"/>
                  </a:solidFill>
                  <a:latin typeface="Calibri" panose="020F0502020204030204" pitchFamily="34" charset="0"/>
                </a:rPr>
                <a:t>Apr 2020</a:t>
              </a:r>
            </a:p>
          </p:txBody>
        </p:sp>
        <p:sp>
          <p:nvSpPr>
            <p:cNvPr id="210" name="OTLSHAPE_M_a58f29487c0343c08abcf41913e40cae_Shape"/>
            <p:cNvSpPr/>
            <p:nvPr>
              <p:custDataLst>
                <p:tags r:id="rId50"/>
              </p:custDataLst>
            </p:nvPr>
          </p:nvSpPr>
          <p:spPr>
            <a:xfrm rot="16200000">
              <a:off x="10283864" y="2649423"/>
              <a:ext cx="165100" cy="165102"/>
            </a:xfrm>
            <a:prstGeom prst="flowChartMerge">
              <a:avLst/>
            </a:prstGeom>
            <a:solidFill>
              <a:schemeClr val="accent6">
                <a:lumMod val="50000"/>
              </a:schemeClr>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grpSp>
        <p:nvGrpSpPr>
          <p:cNvPr id="3" name="Group 2">
            <a:extLst>
              <a:ext uri="{FF2B5EF4-FFF2-40B4-BE49-F238E27FC236}">
                <a16:creationId xmlns:a16="http://schemas.microsoft.com/office/drawing/2014/main" id="{026957EB-1D2F-4654-B630-2175BA469765}"/>
              </a:ext>
            </a:extLst>
          </p:cNvPr>
          <p:cNvGrpSpPr/>
          <p:nvPr/>
        </p:nvGrpSpPr>
        <p:grpSpPr>
          <a:xfrm>
            <a:off x="6877252" y="1859530"/>
            <a:ext cx="730959" cy="795938"/>
            <a:chOff x="5662241" y="1840868"/>
            <a:chExt cx="730959" cy="795938"/>
          </a:xfrm>
        </p:grpSpPr>
        <p:grpSp>
          <p:nvGrpSpPr>
            <p:cNvPr id="166" name="Group 165"/>
            <p:cNvGrpSpPr/>
            <p:nvPr/>
          </p:nvGrpSpPr>
          <p:grpSpPr>
            <a:xfrm>
              <a:off x="5662241" y="1840868"/>
              <a:ext cx="730959" cy="507982"/>
              <a:chOff x="8465293" y="1681210"/>
              <a:chExt cx="858583" cy="576462"/>
            </a:xfrm>
          </p:grpSpPr>
          <p:sp>
            <p:nvSpPr>
              <p:cNvPr id="239" name="OTLSHAPE_M_7f583de0854a4cacb89837f3a379bb4a_Title"/>
              <p:cNvSpPr txBox="1"/>
              <p:nvPr>
                <p:custDataLst>
                  <p:tags r:id="rId45"/>
                </p:custDataLst>
              </p:nvPr>
            </p:nvSpPr>
            <p:spPr>
              <a:xfrm>
                <a:off x="8465293" y="1681210"/>
                <a:ext cx="858583" cy="384194"/>
              </a:xfrm>
              <a:prstGeom prst="rect">
                <a:avLst/>
              </a:prstGeom>
              <a:noFill/>
            </p:spPr>
            <p:txBody>
              <a:bodyPr vert="horz" wrap="square" lIns="0" tIns="0" rIns="0" bIns="0" rtlCol="0" anchor="ctr" anchorCtr="0">
                <a:spAutoFit/>
              </a:bodyPr>
              <a:lstStyle/>
              <a:p>
                <a:pPr algn="ctr"/>
                <a:r>
                  <a:rPr lang="en-US" sz="1100" b="1" spc="-5" dirty="0">
                    <a:solidFill>
                      <a:srgbClr val="FFC000"/>
                    </a:solidFill>
                    <a:latin typeface="Calibri" panose="020F0502020204030204" pitchFamily="34" charset="0"/>
                  </a:rPr>
                  <a:t>Database test module</a:t>
                </a:r>
              </a:p>
            </p:txBody>
          </p:sp>
          <p:sp>
            <p:nvSpPr>
              <p:cNvPr id="240" name="OTLSHAPE_M_7f583de0854a4cacb89837f3a379bb4a_Date"/>
              <p:cNvSpPr txBox="1"/>
              <p:nvPr>
                <p:custDataLst>
                  <p:tags r:id="rId46"/>
                </p:custDataLst>
              </p:nvPr>
            </p:nvSpPr>
            <p:spPr>
              <a:xfrm>
                <a:off x="8525312" y="2065575"/>
                <a:ext cx="724256" cy="192097"/>
              </a:xfrm>
              <a:prstGeom prst="rect">
                <a:avLst/>
              </a:prstGeom>
              <a:noFill/>
            </p:spPr>
            <p:txBody>
              <a:bodyPr vert="horz" wrap="square" lIns="0" tIns="0" rIns="0" bIns="0" rtlCol="0" anchor="ctr" anchorCtr="0">
                <a:spAutoFit/>
              </a:bodyPr>
              <a:lstStyle/>
              <a:p>
                <a:pPr algn="ctr"/>
                <a:r>
                  <a:rPr lang="en-US" sz="1100" spc="-5" dirty="0">
                    <a:solidFill>
                      <a:srgbClr val="7F7F7F"/>
                    </a:solidFill>
                    <a:latin typeface="Calibri" panose="020F0502020204030204" pitchFamily="34" charset="0"/>
                  </a:rPr>
                  <a:t>Sep 2018</a:t>
                </a:r>
              </a:p>
            </p:txBody>
          </p:sp>
        </p:grpSp>
        <p:sp>
          <p:nvSpPr>
            <p:cNvPr id="189" name="OTLSHAPE_M_a54bc827b05146d18b559f618723e2b4_Shape"/>
            <p:cNvSpPr/>
            <p:nvPr>
              <p:custDataLst>
                <p:tags r:id="rId44"/>
              </p:custDataLst>
            </p:nvPr>
          </p:nvSpPr>
          <p:spPr>
            <a:xfrm>
              <a:off x="5910541" y="2412980"/>
              <a:ext cx="194619" cy="223826"/>
            </a:xfrm>
            <a:prstGeom prst="teardrop">
              <a:avLst/>
            </a:prstGeom>
            <a:solidFill>
              <a:srgbClr val="FFC000"/>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grpSp>
        <p:nvGrpSpPr>
          <p:cNvPr id="193" name="Group 192"/>
          <p:cNvGrpSpPr/>
          <p:nvPr/>
        </p:nvGrpSpPr>
        <p:grpSpPr>
          <a:xfrm>
            <a:off x="6851449" y="5532227"/>
            <a:ext cx="3004232" cy="180961"/>
            <a:chOff x="6744833" y="5559228"/>
            <a:chExt cx="3528770" cy="205356"/>
          </a:xfrm>
        </p:grpSpPr>
        <p:sp>
          <p:nvSpPr>
            <p:cNvPr id="199" name="OTLSHAPE_T_e6f5c918bdd649a1ac919cf22468a23b_Title"/>
            <p:cNvSpPr txBox="1"/>
            <p:nvPr>
              <p:custDataLst>
                <p:tags r:id="rId41"/>
              </p:custDataLst>
            </p:nvPr>
          </p:nvSpPr>
          <p:spPr>
            <a:xfrm>
              <a:off x="6744833" y="5572487"/>
              <a:ext cx="3023577" cy="192097"/>
            </a:xfrm>
            <a:prstGeom prst="rect">
              <a:avLst/>
            </a:prstGeom>
            <a:noFill/>
          </p:spPr>
          <p:txBody>
            <a:bodyPr vert="horz" wrap="square" lIns="0" tIns="0" rIns="0" bIns="0" rtlCol="0" anchor="ctr" anchorCtr="0">
              <a:spAutoFit/>
            </a:bodyPr>
            <a:lstStyle/>
            <a:p>
              <a:pPr algn="r"/>
              <a:r>
                <a:rPr lang="en-US" sz="1100" b="1" dirty="0">
                  <a:solidFill>
                    <a:srgbClr val="000000"/>
                  </a:solidFill>
                  <a:latin typeface="Calibri"/>
                </a:rPr>
                <a:t>Mobile App (Appium Android) test modules</a:t>
              </a:r>
            </a:p>
          </p:txBody>
        </p:sp>
        <p:grpSp>
          <p:nvGrpSpPr>
            <p:cNvPr id="200" name="Group 199"/>
            <p:cNvGrpSpPr/>
            <p:nvPr/>
          </p:nvGrpSpPr>
          <p:grpSpPr>
            <a:xfrm>
              <a:off x="9841545" y="5559228"/>
              <a:ext cx="432058" cy="203573"/>
              <a:chOff x="9841545" y="5559228"/>
              <a:chExt cx="432058" cy="203573"/>
            </a:xfrm>
          </p:grpSpPr>
          <p:sp>
            <p:nvSpPr>
              <p:cNvPr id="201" name="OTLSHAPE_T_e6f5c918bdd649a1ac919cf22468a23b_Shape"/>
              <p:cNvSpPr/>
              <p:nvPr>
                <p:custDataLst>
                  <p:tags r:id="rId42"/>
                </p:custDataLst>
              </p:nvPr>
            </p:nvSpPr>
            <p:spPr>
              <a:xfrm>
                <a:off x="9841545" y="5559228"/>
                <a:ext cx="432057" cy="203573"/>
              </a:xfrm>
              <a:prstGeom prst="roundRect">
                <a:avLst>
                  <a:gd name="adj" fmla="val 100000"/>
                </a:avLst>
              </a:prstGeom>
              <a:solidFill>
                <a:srgbClr val="7030A0"/>
              </a:solidFill>
              <a:ln w="12700" cap="flat" cmpd="sng" algn="ctr">
                <a:noFill/>
                <a:prstDash val="solid"/>
                <a:miter lim="800000"/>
              </a:ln>
              <a:effectLst/>
              <a:scene3d>
                <a:camera prst="orthographicFront"/>
                <a:lightRig rig="balanced" dir="t">
                  <a:rot lat="0" lon="0" rev="8700000"/>
                </a:lightRig>
              </a:scene3d>
              <a:sp3d>
                <a:bevelT w="165100"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bg1"/>
                  </a:solidFill>
                </a:endParaRPr>
              </a:p>
            </p:txBody>
          </p:sp>
          <p:sp>
            <p:nvSpPr>
              <p:cNvPr id="202" name="OTLSHAPE_T_e6f5c918bdd649a1ac919cf22468a23b_JoinedDate"/>
              <p:cNvSpPr txBox="1"/>
              <p:nvPr>
                <p:custDataLst>
                  <p:tags r:id="rId43"/>
                </p:custDataLst>
              </p:nvPr>
            </p:nvSpPr>
            <p:spPr>
              <a:xfrm>
                <a:off x="9912425" y="5570702"/>
                <a:ext cx="361178" cy="192098"/>
              </a:xfrm>
              <a:prstGeom prst="rect">
                <a:avLst/>
              </a:prstGeom>
              <a:noFill/>
            </p:spPr>
            <p:txBody>
              <a:bodyPr vert="horz" wrap="square" lIns="0" tIns="0" rIns="0" bIns="0" rtlCol="0" anchor="ctr" anchorCtr="0">
                <a:spAutoFit/>
              </a:bodyPr>
              <a:lstStyle/>
              <a:p>
                <a:r>
                  <a:rPr lang="en-US" sz="1100" spc="-3" dirty="0">
                    <a:solidFill>
                      <a:schemeClr val="bg1"/>
                    </a:solidFill>
                    <a:latin typeface="Calibri" panose="020F0502020204030204" pitchFamily="34" charset="0"/>
                  </a:rPr>
                  <a:t>TBD</a:t>
                </a:r>
              </a:p>
            </p:txBody>
          </p:sp>
        </p:grpSp>
      </p:grpSp>
      <p:grpSp>
        <p:nvGrpSpPr>
          <p:cNvPr id="195" name="Group 194"/>
          <p:cNvGrpSpPr/>
          <p:nvPr/>
        </p:nvGrpSpPr>
        <p:grpSpPr>
          <a:xfrm>
            <a:off x="3912355" y="1700761"/>
            <a:ext cx="772152" cy="952327"/>
            <a:chOff x="6023803" y="1484194"/>
            <a:chExt cx="906969" cy="1080710"/>
          </a:xfrm>
        </p:grpSpPr>
        <p:sp>
          <p:nvSpPr>
            <p:cNvPr id="196" name="OTLSHAPE_M_a54bc827b05146d18b559f618723e2b4_Shape"/>
            <p:cNvSpPr/>
            <p:nvPr>
              <p:custDataLst>
                <p:tags r:id="rId38"/>
              </p:custDataLst>
            </p:nvPr>
          </p:nvSpPr>
          <p:spPr>
            <a:xfrm>
              <a:off x="6347100" y="2310904"/>
              <a:ext cx="228600" cy="254000"/>
            </a:xfrm>
            <a:prstGeom prst="teardrop">
              <a:avLst/>
            </a:prstGeom>
            <a:solidFill>
              <a:srgbClr val="2C0C3E"/>
            </a:solidFill>
            <a:ln w="12700" cap="flat" cmpd="sng" algn="ctr">
              <a:noFill/>
              <a:prstDash val="solid"/>
              <a:miter lim="800000"/>
            </a:ln>
            <a:effectLst/>
            <a:scene3d>
              <a:camera prst="orthographicFront"/>
              <a:lightRig rig="threePt" dir="t"/>
            </a:scene3d>
            <a:sp3d>
              <a:bevelT h="12700"/>
            </a:sp3d>
            <a:extLs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331145"/>
                </a:solidFill>
              </a:endParaRPr>
            </a:p>
          </p:txBody>
        </p:sp>
        <p:sp>
          <p:nvSpPr>
            <p:cNvPr id="197" name="OTLSHAPE_M_a54bc827b05146d18b559f618723e2b4_Title"/>
            <p:cNvSpPr txBox="1"/>
            <p:nvPr>
              <p:custDataLst>
                <p:tags r:id="rId39"/>
              </p:custDataLst>
            </p:nvPr>
          </p:nvSpPr>
          <p:spPr>
            <a:xfrm>
              <a:off x="6023803" y="1484194"/>
              <a:ext cx="906969" cy="576291"/>
            </a:xfrm>
            <a:prstGeom prst="rect">
              <a:avLst/>
            </a:prstGeom>
            <a:noFill/>
          </p:spPr>
          <p:txBody>
            <a:bodyPr vert="horz" wrap="square" lIns="0" tIns="0" rIns="0" bIns="0" rtlCol="0" anchor="ctr" anchorCtr="0">
              <a:spAutoFit/>
            </a:bodyPr>
            <a:lstStyle/>
            <a:p>
              <a:pPr algn="ctr"/>
              <a:r>
                <a:rPr lang="en-US" sz="1100" b="1" spc="-5" dirty="0">
                  <a:solidFill>
                    <a:srgbClr val="321244"/>
                  </a:solidFill>
                  <a:latin typeface="Calibri" panose="020F0502020204030204" pitchFamily="34" charset="0"/>
                </a:rPr>
                <a:t>Service virtualization module</a:t>
              </a:r>
            </a:p>
          </p:txBody>
        </p:sp>
        <p:sp>
          <p:nvSpPr>
            <p:cNvPr id="198" name="OTLSHAPE_M_a54bc827b05146d18b559f618723e2b4_Date"/>
            <p:cNvSpPr txBox="1"/>
            <p:nvPr>
              <p:custDataLst>
                <p:tags r:id="rId40"/>
              </p:custDataLst>
            </p:nvPr>
          </p:nvSpPr>
          <p:spPr>
            <a:xfrm>
              <a:off x="6141914" y="2080259"/>
              <a:ext cx="681985" cy="192097"/>
            </a:xfrm>
            <a:prstGeom prst="rect">
              <a:avLst/>
            </a:prstGeom>
            <a:noFill/>
          </p:spPr>
          <p:txBody>
            <a:bodyPr vert="horz" wrap="square" lIns="0" tIns="0" rIns="0" bIns="0" rtlCol="0" anchor="ctr" anchorCtr="0">
              <a:spAutoFit/>
            </a:bodyPr>
            <a:lstStyle/>
            <a:p>
              <a:pPr algn="ctr"/>
              <a:r>
                <a:rPr lang="en-US" sz="1100" spc="-5" dirty="0">
                  <a:solidFill>
                    <a:srgbClr val="7F7F7F"/>
                  </a:solidFill>
                  <a:latin typeface="Calibri" panose="020F0502020204030204" pitchFamily="34" charset="0"/>
                </a:rPr>
                <a:t>May2018</a:t>
              </a:r>
            </a:p>
          </p:txBody>
        </p:sp>
      </p:grpSp>
      <p:grpSp>
        <p:nvGrpSpPr>
          <p:cNvPr id="101" name="Group 100">
            <a:extLst>
              <a:ext uri="{FF2B5EF4-FFF2-40B4-BE49-F238E27FC236}">
                <a16:creationId xmlns:a16="http://schemas.microsoft.com/office/drawing/2014/main" id="{DBB3A58F-FE1A-4CC5-8E15-10FBF339C86F}"/>
              </a:ext>
            </a:extLst>
          </p:cNvPr>
          <p:cNvGrpSpPr/>
          <p:nvPr/>
        </p:nvGrpSpPr>
        <p:grpSpPr>
          <a:xfrm>
            <a:off x="263191" y="3501011"/>
            <a:ext cx="4012681" cy="507831"/>
            <a:chOff x="2279833" y="4096559"/>
            <a:chExt cx="4617283" cy="536417"/>
          </a:xfrm>
        </p:grpSpPr>
        <p:sp>
          <p:nvSpPr>
            <p:cNvPr id="102" name="OTLSHAPE_T_e6f5c918bdd649a1ac919cf22468a23b_Shape">
              <a:extLst>
                <a:ext uri="{FF2B5EF4-FFF2-40B4-BE49-F238E27FC236}">
                  <a16:creationId xmlns:a16="http://schemas.microsoft.com/office/drawing/2014/main" id="{D8C92F4D-60FE-4C2B-B874-F8C8C7AC4F4A}"/>
                </a:ext>
              </a:extLst>
            </p:cNvPr>
            <p:cNvSpPr/>
            <p:nvPr>
              <p:custDataLst>
                <p:tags r:id="rId35"/>
              </p:custDataLst>
            </p:nvPr>
          </p:nvSpPr>
          <p:spPr>
            <a:xfrm>
              <a:off x="4376920" y="4248684"/>
              <a:ext cx="2520196" cy="222424"/>
            </a:xfrm>
            <a:prstGeom prst="roundRect">
              <a:avLst>
                <a:gd name="adj" fmla="val 100000"/>
              </a:avLst>
            </a:prstGeom>
            <a:solidFill>
              <a:srgbClr val="331145"/>
            </a:solidFill>
            <a:ln w="12700" cap="flat" cmpd="sng" algn="ctr">
              <a:noFill/>
              <a:prstDash val="solid"/>
              <a:miter lim="800000"/>
            </a:ln>
            <a:effectLst/>
            <a:scene3d>
              <a:camera prst="orthographicFront"/>
              <a:lightRig rig="balanced" dir="t">
                <a:rot lat="0" lon="0" rev="8700000"/>
              </a:lightRig>
            </a:scene3d>
            <a:sp3d>
              <a:bevelT w="165100"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331145"/>
                </a:solidFill>
              </a:endParaRPr>
            </a:p>
          </p:txBody>
        </p:sp>
        <p:sp>
          <p:nvSpPr>
            <p:cNvPr id="103" name="OTLSHAPE_T_e6f5c918bdd649a1ac919cf22468a23b_Title">
              <a:extLst>
                <a:ext uri="{FF2B5EF4-FFF2-40B4-BE49-F238E27FC236}">
                  <a16:creationId xmlns:a16="http://schemas.microsoft.com/office/drawing/2014/main" id="{70E230F9-8119-4D1A-A9A7-2BA9C57BB6BE}"/>
                </a:ext>
              </a:extLst>
            </p:cNvPr>
            <p:cNvSpPr txBox="1"/>
            <p:nvPr>
              <p:custDataLst>
                <p:tags r:id="rId36"/>
              </p:custDataLst>
            </p:nvPr>
          </p:nvSpPr>
          <p:spPr>
            <a:xfrm>
              <a:off x="2279833" y="4096559"/>
              <a:ext cx="1985631" cy="536417"/>
            </a:xfrm>
            <a:prstGeom prst="rect">
              <a:avLst/>
            </a:prstGeom>
            <a:noFill/>
          </p:spPr>
          <p:txBody>
            <a:bodyPr vert="horz" wrap="square" lIns="0" tIns="0" rIns="0" bIns="0" rtlCol="0" anchor="ctr" anchorCtr="0">
              <a:spAutoFit/>
            </a:bodyPr>
            <a:lstStyle/>
            <a:p>
              <a:pPr algn="r"/>
              <a:r>
                <a:rPr lang="pl-PL" sz="1100" b="1" dirty="0">
                  <a:solidFill>
                    <a:srgbClr val="000000"/>
                  </a:solidFill>
                  <a:latin typeface="Calibri"/>
                </a:rPr>
                <a:t>Service </a:t>
              </a:r>
              <a:br>
                <a:rPr lang="pl-PL" sz="1100" b="1" dirty="0">
                  <a:solidFill>
                    <a:srgbClr val="000000"/>
                  </a:solidFill>
                  <a:latin typeface="Calibri"/>
                </a:rPr>
              </a:br>
              <a:r>
                <a:rPr lang="en-US" sz="1100" b="1" dirty="0">
                  <a:solidFill>
                    <a:srgbClr val="000000"/>
                  </a:solidFill>
                  <a:latin typeface="Calibri"/>
                </a:rPr>
                <a:t>Virtualization</a:t>
              </a:r>
              <a:br>
                <a:rPr lang="pl-PL" sz="1100" b="1" dirty="0">
                  <a:solidFill>
                    <a:srgbClr val="000000"/>
                  </a:solidFill>
                  <a:latin typeface="Calibri"/>
                </a:rPr>
              </a:br>
              <a:r>
                <a:rPr lang="en-US" sz="1100" b="1" dirty="0">
                  <a:solidFill>
                    <a:srgbClr val="000000"/>
                  </a:solidFill>
                  <a:latin typeface="Calibri"/>
                </a:rPr>
                <a:t>test modules</a:t>
              </a:r>
            </a:p>
          </p:txBody>
        </p:sp>
        <p:sp>
          <p:nvSpPr>
            <p:cNvPr id="104" name="OTLSHAPE_T_e6f5c918bdd649a1ac919cf22468a23b_JoinedDate">
              <a:extLst>
                <a:ext uri="{FF2B5EF4-FFF2-40B4-BE49-F238E27FC236}">
                  <a16:creationId xmlns:a16="http://schemas.microsoft.com/office/drawing/2014/main" id="{2CB17916-CBC2-427A-9F30-425276C8024C}"/>
                </a:ext>
              </a:extLst>
            </p:cNvPr>
            <p:cNvSpPr txBox="1"/>
            <p:nvPr>
              <p:custDataLst>
                <p:tags r:id="rId37"/>
              </p:custDataLst>
            </p:nvPr>
          </p:nvSpPr>
          <p:spPr>
            <a:xfrm>
              <a:off x="5360779" y="4265605"/>
              <a:ext cx="1063889" cy="178806"/>
            </a:xfrm>
            <a:prstGeom prst="rect">
              <a:avLst/>
            </a:prstGeom>
            <a:noFill/>
          </p:spPr>
          <p:txBody>
            <a:bodyPr vert="horz" wrap="square" lIns="0" tIns="0" rIns="0" bIns="0" rtlCol="0" anchor="ctr" anchorCtr="0">
              <a:spAutoFit/>
            </a:bodyPr>
            <a:lstStyle/>
            <a:p>
              <a:r>
                <a:rPr lang="en-US" sz="1100" spc="-3" dirty="0">
                  <a:solidFill>
                    <a:schemeClr val="bg1"/>
                  </a:solidFill>
                  <a:latin typeface="Calibri" panose="020F0502020204030204" pitchFamily="34" charset="0"/>
                </a:rPr>
                <a:t>Mar - May</a:t>
              </a:r>
            </a:p>
          </p:txBody>
        </p:sp>
      </p:grpSp>
      <p:grpSp>
        <p:nvGrpSpPr>
          <p:cNvPr id="105" name="Group 104">
            <a:extLst>
              <a:ext uri="{FF2B5EF4-FFF2-40B4-BE49-F238E27FC236}">
                <a16:creationId xmlns:a16="http://schemas.microsoft.com/office/drawing/2014/main" id="{EE0A2DD0-3ED3-4983-AC9B-7327ADBEEEC9}"/>
              </a:ext>
            </a:extLst>
          </p:cNvPr>
          <p:cNvGrpSpPr/>
          <p:nvPr/>
        </p:nvGrpSpPr>
        <p:grpSpPr>
          <a:xfrm>
            <a:off x="3954573" y="5197902"/>
            <a:ext cx="5381787" cy="273733"/>
            <a:chOff x="3920727" y="4725208"/>
            <a:chExt cx="6321445" cy="261348"/>
          </a:xfrm>
        </p:grpSpPr>
        <p:sp>
          <p:nvSpPr>
            <p:cNvPr id="106" name="OTLSHAPE_T_e6f5c918bdd649a1ac919cf22468a23b_Shape">
              <a:extLst>
                <a:ext uri="{FF2B5EF4-FFF2-40B4-BE49-F238E27FC236}">
                  <a16:creationId xmlns:a16="http://schemas.microsoft.com/office/drawing/2014/main" id="{22836CBF-8FE2-49FF-AFF9-DFC21EA0806A}"/>
                </a:ext>
              </a:extLst>
            </p:cNvPr>
            <p:cNvSpPr/>
            <p:nvPr>
              <p:custDataLst>
                <p:tags r:id="rId32"/>
              </p:custDataLst>
            </p:nvPr>
          </p:nvSpPr>
          <p:spPr>
            <a:xfrm>
              <a:off x="6105159" y="4725208"/>
              <a:ext cx="4137013" cy="261348"/>
            </a:xfrm>
            <a:prstGeom prst="roundRect">
              <a:avLst>
                <a:gd name="adj" fmla="val 100000"/>
              </a:avLst>
            </a:prstGeom>
            <a:solidFill>
              <a:schemeClr val="accent3">
                <a:lumMod val="50000"/>
              </a:schemeClr>
            </a:solidFill>
            <a:ln w="12700" cap="flat" cmpd="sng" algn="ctr">
              <a:noFill/>
              <a:prstDash val="solid"/>
              <a:miter lim="800000"/>
            </a:ln>
            <a:effectLst/>
            <a:scene3d>
              <a:camera prst="orthographicFront"/>
              <a:lightRig rig="balanced" dir="t">
                <a:rot lat="0" lon="0" rev="8700000"/>
              </a:lightRig>
            </a:scene3d>
            <a:sp3d>
              <a:bevelT w="165100"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bg1"/>
                </a:solidFill>
              </a:endParaRPr>
            </a:p>
          </p:txBody>
        </p:sp>
        <p:sp>
          <p:nvSpPr>
            <p:cNvPr id="107" name="OTLSHAPE_T_e6f5c918bdd649a1ac919cf22468a23b_Title">
              <a:extLst>
                <a:ext uri="{FF2B5EF4-FFF2-40B4-BE49-F238E27FC236}">
                  <a16:creationId xmlns:a16="http://schemas.microsoft.com/office/drawing/2014/main" id="{287D010F-0A51-4693-A5FF-FC4E9BAEAFF6}"/>
                </a:ext>
              </a:extLst>
            </p:cNvPr>
            <p:cNvSpPr txBox="1"/>
            <p:nvPr>
              <p:custDataLst>
                <p:tags r:id="rId33"/>
              </p:custDataLst>
            </p:nvPr>
          </p:nvSpPr>
          <p:spPr>
            <a:xfrm>
              <a:off x="3920727" y="4813819"/>
              <a:ext cx="2072978" cy="161617"/>
            </a:xfrm>
            <a:prstGeom prst="rect">
              <a:avLst/>
            </a:prstGeom>
            <a:noFill/>
          </p:spPr>
          <p:txBody>
            <a:bodyPr vert="horz" wrap="square" lIns="0" tIns="0" rIns="0" bIns="0" rtlCol="0" anchor="ctr" anchorCtr="0">
              <a:spAutoFit/>
            </a:bodyPr>
            <a:lstStyle/>
            <a:p>
              <a:pPr algn="r"/>
              <a:r>
                <a:rPr lang="pl-PL" sz="1100" b="1" dirty="0">
                  <a:solidFill>
                    <a:srgbClr val="000000"/>
                  </a:solidFill>
                  <a:latin typeface="Calibri"/>
                </a:rPr>
                <a:t>Queue</a:t>
              </a:r>
              <a:r>
                <a:rPr lang="en-US" sz="1100" b="1" dirty="0">
                  <a:solidFill>
                    <a:srgbClr val="000000"/>
                  </a:solidFill>
                  <a:latin typeface="Calibri"/>
                </a:rPr>
                <a:t> (</a:t>
              </a:r>
              <a:r>
                <a:rPr lang="pl-PL" sz="1100" b="1" dirty="0">
                  <a:solidFill>
                    <a:srgbClr val="000000"/>
                  </a:solidFill>
                  <a:latin typeface="Calibri"/>
                </a:rPr>
                <a:t>MQ</a:t>
              </a:r>
              <a:r>
                <a:rPr lang="en-US" sz="1100" b="1" dirty="0">
                  <a:solidFill>
                    <a:srgbClr val="000000"/>
                  </a:solidFill>
                  <a:latin typeface="Calibri"/>
                </a:rPr>
                <a:t>) test modules</a:t>
              </a:r>
            </a:p>
          </p:txBody>
        </p:sp>
        <p:sp>
          <p:nvSpPr>
            <p:cNvPr id="108" name="OTLSHAPE_T_e6f5c918bdd649a1ac919cf22468a23b_JoinedDate">
              <a:extLst>
                <a:ext uri="{FF2B5EF4-FFF2-40B4-BE49-F238E27FC236}">
                  <a16:creationId xmlns:a16="http://schemas.microsoft.com/office/drawing/2014/main" id="{489E3204-5DF4-45E0-AC79-9312A95F0595}"/>
                </a:ext>
              </a:extLst>
            </p:cNvPr>
            <p:cNvSpPr txBox="1"/>
            <p:nvPr>
              <p:custDataLst>
                <p:tags r:id="rId34"/>
              </p:custDataLst>
            </p:nvPr>
          </p:nvSpPr>
          <p:spPr>
            <a:xfrm>
              <a:off x="7892854" y="4781959"/>
              <a:ext cx="673100" cy="161618"/>
            </a:xfrm>
            <a:prstGeom prst="rect">
              <a:avLst/>
            </a:prstGeom>
            <a:noFill/>
          </p:spPr>
          <p:txBody>
            <a:bodyPr vert="horz" wrap="square" lIns="0" tIns="0" rIns="0" bIns="0" rtlCol="0" anchor="ctr" anchorCtr="0">
              <a:spAutoFit/>
            </a:bodyPr>
            <a:lstStyle/>
            <a:p>
              <a:r>
                <a:rPr lang="en-US" sz="1100" spc="-3" dirty="0">
                  <a:solidFill>
                    <a:schemeClr val="bg1"/>
                  </a:solidFill>
                  <a:latin typeface="Calibri" panose="020F0502020204030204" pitchFamily="34" charset="0"/>
                </a:rPr>
                <a:t>Jul – Nov</a:t>
              </a:r>
            </a:p>
          </p:txBody>
        </p:sp>
      </p:grpSp>
      <p:sp>
        <p:nvSpPr>
          <p:cNvPr id="109" name="OTLSHAPE_TB_00000000000000000000000000000000_TimescaleInterval8">
            <a:extLst>
              <a:ext uri="{FF2B5EF4-FFF2-40B4-BE49-F238E27FC236}">
                <a16:creationId xmlns:a16="http://schemas.microsoft.com/office/drawing/2014/main" id="{1856C847-9B61-4252-BEBD-277E5CEC9ABD}"/>
              </a:ext>
            </a:extLst>
          </p:cNvPr>
          <p:cNvSpPr txBox="1"/>
          <p:nvPr>
            <p:custDataLst>
              <p:tags r:id="rId19"/>
            </p:custDataLst>
          </p:nvPr>
        </p:nvSpPr>
        <p:spPr>
          <a:xfrm>
            <a:off x="7392181" y="2760978"/>
            <a:ext cx="160541" cy="163952"/>
          </a:xfrm>
          <a:prstGeom prst="rect">
            <a:avLst/>
          </a:prstGeom>
          <a:noFill/>
          <a:ln>
            <a:noFill/>
          </a:ln>
        </p:spPr>
        <p:txBody>
          <a:bodyPr vert="horz" wrap="none" lIns="0" tIns="0" rIns="0" bIns="0" rtlCol="0" anchor="ctr" anchorCtr="0">
            <a:noAutofit/>
          </a:bodyPr>
          <a:lstStyle/>
          <a:p>
            <a:r>
              <a:rPr lang="en-US" spc="-17" dirty="0">
                <a:latin typeface="Calibri" panose="020F0502020204030204" pitchFamily="34" charset="0"/>
              </a:rPr>
              <a:t>Oct</a:t>
            </a:r>
          </a:p>
        </p:txBody>
      </p:sp>
      <p:sp>
        <p:nvSpPr>
          <p:cNvPr id="110" name="OTLSHAPE_TB_00000000000000000000000000000000_TimescaleInterval2">
            <a:extLst>
              <a:ext uri="{FF2B5EF4-FFF2-40B4-BE49-F238E27FC236}">
                <a16:creationId xmlns:a16="http://schemas.microsoft.com/office/drawing/2014/main" id="{28B34E59-3C20-4D35-B6EC-131A6AC7F320}"/>
              </a:ext>
            </a:extLst>
          </p:cNvPr>
          <p:cNvSpPr txBox="1"/>
          <p:nvPr>
            <p:custDataLst>
              <p:tags r:id="rId20"/>
            </p:custDataLst>
          </p:nvPr>
        </p:nvSpPr>
        <p:spPr>
          <a:xfrm>
            <a:off x="8107195" y="2760978"/>
            <a:ext cx="143271" cy="163952"/>
          </a:xfrm>
          <a:prstGeom prst="rect">
            <a:avLst/>
          </a:prstGeom>
          <a:noFill/>
          <a:ln>
            <a:noFill/>
          </a:ln>
        </p:spPr>
        <p:txBody>
          <a:bodyPr vert="horz" wrap="none" lIns="0" tIns="0" rIns="0" bIns="0" rtlCol="0" anchor="ctr" anchorCtr="0">
            <a:noAutofit/>
          </a:bodyPr>
          <a:lstStyle/>
          <a:p>
            <a:r>
              <a:rPr lang="en-US" spc="-14" dirty="0">
                <a:latin typeface="Calibri" panose="020F0502020204030204" pitchFamily="34" charset="0"/>
              </a:rPr>
              <a:t>Nov</a:t>
            </a:r>
          </a:p>
        </p:txBody>
      </p:sp>
      <p:sp>
        <p:nvSpPr>
          <p:cNvPr id="111" name="OTLSHAPE_TB_00000000000000000000000000000000_TimescaleInterval2">
            <a:extLst>
              <a:ext uri="{FF2B5EF4-FFF2-40B4-BE49-F238E27FC236}">
                <a16:creationId xmlns:a16="http://schemas.microsoft.com/office/drawing/2014/main" id="{006939C7-C0A4-489D-BFF4-D3DD169A2ABE}"/>
              </a:ext>
            </a:extLst>
          </p:cNvPr>
          <p:cNvSpPr txBox="1"/>
          <p:nvPr>
            <p:custDataLst>
              <p:tags r:id="rId21"/>
            </p:custDataLst>
          </p:nvPr>
        </p:nvSpPr>
        <p:spPr>
          <a:xfrm>
            <a:off x="8842826" y="2760978"/>
            <a:ext cx="143271" cy="163952"/>
          </a:xfrm>
          <a:prstGeom prst="rect">
            <a:avLst/>
          </a:prstGeom>
          <a:noFill/>
          <a:ln>
            <a:noFill/>
          </a:ln>
        </p:spPr>
        <p:txBody>
          <a:bodyPr vert="horz" wrap="none" lIns="0" tIns="0" rIns="0" bIns="0" rtlCol="0" anchor="ctr" anchorCtr="0">
            <a:noAutofit/>
          </a:bodyPr>
          <a:lstStyle/>
          <a:p>
            <a:r>
              <a:rPr lang="pl-PL" spc="-14" dirty="0">
                <a:latin typeface="Calibri" panose="020F0502020204030204" pitchFamily="34" charset="0"/>
              </a:rPr>
              <a:t>Dec</a:t>
            </a:r>
            <a:endParaRPr lang="en-US" spc="-14" dirty="0">
              <a:latin typeface="Calibri" panose="020F0502020204030204" pitchFamily="34" charset="0"/>
            </a:endParaRPr>
          </a:p>
        </p:txBody>
      </p:sp>
      <p:grpSp>
        <p:nvGrpSpPr>
          <p:cNvPr id="112" name="Group 111">
            <a:extLst>
              <a:ext uri="{FF2B5EF4-FFF2-40B4-BE49-F238E27FC236}">
                <a16:creationId xmlns:a16="http://schemas.microsoft.com/office/drawing/2014/main" id="{2E96822B-47F4-4A5D-9A28-362AA6F8A003}"/>
              </a:ext>
            </a:extLst>
          </p:cNvPr>
          <p:cNvGrpSpPr/>
          <p:nvPr/>
        </p:nvGrpSpPr>
        <p:grpSpPr>
          <a:xfrm>
            <a:off x="4627807" y="1806536"/>
            <a:ext cx="735974" cy="849017"/>
            <a:chOff x="5240686" y="1711385"/>
            <a:chExt cx="864474" cy="963475"/>
          </a:xfrm>
        </p:grpSpPr>
        <p:sp>
          <p:nvSpPr>
            <p:cNvPr id="113" name="OTLSHAPE_M_a54bc827b05146d18b559f618723e2b4_Shape">
              <a:extLst>
                <a:ext uri="{FF2B5EF4-FFF2-40B4-BE49-F238E27FC236}">
                  <a16:creationId xmlns:a16="http://schemas.microsoft.com/office/drawing/2014/main" id="{54A2E4F4-C0B2-4BF7-B497-C60657EF12AC}"/>
                </a:ext>
              </a:extLst>
            </p:cNvPr>
            <p:cNvSpPr/>
            <p:nvPr>
              <p:custDataLst>
                <p:tags r:id="rId29"/>
              </p:custDataLst>
            </p:nvPr>
          </p:nvSpPr>
          <p:spPr>
            <a:xfrm>
              <a:off x="5588166" y="2420860"/>
              <a:ext cx="228600" cy="254000"/>
            </a:xfrm>
            <a:prstGeom prst="teardrop">
              <a:avLst/>
            </a:prstGeom>
            <a:solidFill>
              <a:srgbClr val="AD333F"/>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nvGrpSpPr>
            <p:cNvPr id="114" name="Group 113">
              <a:extLst>
                <a:ext uri="{FF2B5EF4-FFF2-40B4-BE49-F238E27FC236}">
                  <a16:creationId xmlns:a16="http://schemas.microsoft.com/office/drawing/2014/main" id="{3E838308-806E-4270-ACFB-2FB071343F18}"/>
                </a:ext>
              </a:extLst>
            </p:cNvPr>
            <p:cNvGrpSpPr/>
            <p:nvPr/>
          </p:nvGrpSpPr>
          <p:grpSpPr>
            <a:xfrm>
              <a:off x="5240686" y="1711385"/>
              <a:ext cx="864474" cy="576293"/>
              <a:chOff x="4736970" y="1711385"/>
              <a:chExt cx="864474" cy="576293"/>
            </a:xfrm>
          </p:grpSpPr>
          <p:sp>
            <p:nvSpPr>
              <p:cNvPr id="115" name="OTLSHAPE_M_a54bc827b05146d18b559f618723e2b4_Title">
                <a:extLst>
                  <a:ext uri="{FF2B5EF4-FFF2-40B4-BE49-F238E27FC236}">
                    <a16:creationId xmlns:a16="http://schemas.microsoft.com/office/drawing/2014/main" id="{DE7D1410-0352-411B-AA67-3161ABADA5F4}"/>
                  </a:ext>
                </a:extLst>
              </p:cNvPr>
              <p:cNvSpPr txBox="1"/>
              <p:nvPr>
                <p:custDataLst>
                  <p:tags r:id="rId30"/>
                </p:custDataLst>
              </p:nvPr>
            </p:nvSpPr>
            <p:spPr>
              <a:xfrm>
                <a:off x="4736970" y="1711385"/>
                <a:ext cx="864474" cy="384196"/>
              </a:xfrm>
              <a:prstGeom prst="rect">
                <a:avLst/>
              </a:prstGeom>
              <a:noFill/>
            </p:spPr>
            <p:txBody>
              <a:bodyPr vert="horz" wrap="square" lIns="0" tIns="0" rIns="0" bIns="0" rtlCol="0" anchor="ctr" anchorCtr="0">
                <a:spAutoFit/>
              </a:bodyPr>
              <a:lstStyle/>
              <a:p>
                <a:pPr algn="ctr"/>
                <a:r>
                  <a:rPr lang="en-US" sz="1100" b="1" spc="-5" dirty="0">
                    <a:solidFill>
                      <a:srgbClr val="A82B36"/>
                    </a:solidFill>
                    <a:latin typeface="Calibri" panose="020F0502020204030204" pitchFamily="34" charset="0"/>
                  </a:rPr>
                  <a:t>WebAPI module</a:t>
                </a:r>
              </a:p>
            </p:txBody>
          </p:sp>
          <p:sp>
            <p:nvSpPr>
              <p:cNvPr id="116" name="OTLSHAPE_M_a54bc827b05146d18b559f618723e2b4_Date">
                <a:extLst>
                  <a:ext uri="{FF2B5EF4-FFF2-40B4-BE49-F238E27FC236}">
                    <a16:creationId xmlns:a16="http://schemas.microsoft.com/office/drawing/2014/main" id="{F378EB80-5C9D-4469-914E-30838DFC40AE}"/>
                  </a:ext>
                </a:extLst>
              </p:cNvPr>
              <p:cNvSpPr txBox="1"/>
              <p:nvPr>
                <p:custDataLst>
                  <p:tags r:id="rId31"/>
                </p:custDataLst>
              </p:nvPr>
            </p:nvSpPr>
            <p:spPr>
              <a:xfrm>
                <a:off x="4831014" y="2095580"/>
                <a:ext cx="695523" cy="192098"/>
              </a:xfrm>
              <a:prstGeom prst="rect">
                <a:avLst/>
              </a:prstGeom>
              <a:noFill/>
            </p:spPr>
            <p:txBody>
              <a:bodyPr vert="horz" wrap="square" lIns="0" tIns="0" rIns="0" bIns="0" rtlCol="0" anchor="ctr" anchorCtr="0">
                <a:spAutoFit/>
              </a:bodyPr>
              <a:lstStyle/>
              <a:p>
                <a:pPr algn="ctr"/>
                <a:r>
                  <a:rPr lang="en-US" sz="1100" spc="-5" dirty="0">
                    <a:solidFill>
                      <a:srgbClr val="7F7F7F"/>
                    </a:solidFill>
                    <a:latin typeface="Calibri" panose="020F0502020204030204" pitchFamily="34" charset="0"/>
                  </a:rPr>
                  <a:t>Jun2018</a:t>
                </a:r>
              </a:p>
            </p:txBody>
          </p:sp>
        </p:grpSp>
      </p:grpSp>
      <p:grpSp>
        <p:nvGrpSpPr>
          <p:cNvPr id="120" name="Group 119">
            <a:extLst>
              <a:ext uri="{FF2B5EF4-FFF2-40B4-BE49-F238E27FC236}">
                <a16:creationId xmlns:a16="http://schemas.microsoft.com/office/drawing/2014/main" id="{DF12D713-3A6E-4432-914B-756DA140F0BD}"/>
              </a:ext>
            </a:extLst>
          </p:cNvPr>
          <p:cNvGrpSpPr/>
          <p:nvPr/>
        </p:nvGrpSpPr>
        <p:grpSpPr>
          <a:xfrm>
            <a:off x="8778604" y="1124680"/>
            <a:ext cx="1349957" cy="1532260"/>
            <a:chOff x="9544792" y="827959"/>
            <a:chExt cx="1585659" cy="1738825"/>
          </a:xfrm>
        </p:grpSpPr>
        <p:cxnSp>
          <p:nvCxnSpPr>
            <p:cNvPr id="121" name="OTLSHAPE_M_a58f29487c0343c08abcf41913e40cae_Connector1">
              <a:extLst>
                <a:ext uri="{FF2B5EF4-FFF2-40B4-BE49-F238E27FC236}">
                  <a16:creationId xmlns:a16="http://schemas.microsoft.com/office/drawing/2014/main" id="{4371AD4B-05DC-4744-80B4-5657E15604BE}"/>
                </a:ext>
              </a:extLst>
            </p:cNvPr>
            <p:cNvCxnSpPr/>
            <p:nvPr>
              <p:custDataLst>
                <p:tags r:id="rId25"/>
              </p:custDataLst>
            </p:nvPr>
          </p:nvCxnSpPr>
          <p:spPr>
            <a:xfrm>
              <a:off x="10225245" y="1499893"/>
              <a:ext cx="0" cy="1066891"/>
            </a:xfrm>
            <a:prstGeom prst="line">
              <a:avLst/>
            </a:prstGeom>
            <a:ln w="9525" cap="flat" cmpd="sng" algn="ctr">
              <a:solidFill>
                <a:schemeClr val="accent6">
                  <a:lumMod val="5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2" name="OTLSHAPE_M_a58f29487c0343c08abcf41913e40cae_Title">
              <a:extLst>
                <a:ext uri="{FF2B5EF4-FFF2-40B4-BE49-F238E27FC236}">
                  <a16:creationId xmlns:a16="http://schemas.microsoft.com/office/drawing/2014/main" id="{97812894-7186-4443-8F80-11391A893AEA}"/>
                </a:ext>
              </a:extLst>
            </p:cNvPr>
            <p:cNvSpPr txBox="1"/>
            <p:nvPr>
              <p:custDataLst>
                <p:tags r:id="rId26"/>
              </p:custDataLst>
            </p:nvPr>
          </p:nvSpPr>
          <p:spPr>
            <a:xfrm>
              <a:off x="9544792" y="827959"/>
              <a:ext cx="1585659" cy="384195"/>
            </a:xfrm>
            <a:prstGeom prst="rect">
              <a:avLst/>
            </a:prstGeom>
            <a:noFill/>
          </p:spPr>
          <p:txBody>
            <a:bodyPr vert="horz" wrap="square" lIns="0" tIns="0" rIns="0" bIns="0" rtlCol="0" anchor="ctr" anchorCtr="0">
              <a:spAutoFit/>
            </a:bodyPr>
            <a:lstStyle/>
            <a:p>
              <a:pPr algn="ctr"/>
              <a:r>
                <a:rPr lang="en-US" sz="1100" b="1" spc="-5" dirty="0">
                  <a:solidFill>
                    <a:schemeClr val="accent6">
                      <a:lumMod val="50000"/>
                    </a:schemeClr>
                  </a:solidFill>
                  <a:latin typeface="Calibri" panose="020F0502020204030204" pitchFamily="34" charset="0"/>
                </a:rPr>
                <a:t>Queue</a:t>
              </a:r>
              <a:br>
                <a:rPr lang="en-US" sz="1100" b="1" spc="-5" dirty="0">
                  <a:solidFill>
                    <a:schemeClr val="accent6">
                      <a:lumMod val="50000"/>
                    </a:schemeClr>
                  </a:solidFill>
                  <a:latin typeface="Calibri" panose="020F0502020204030204" pitchFamily="34" charset="0"/>
                </a:rPr>
              </a:br>
              <a:r>
                <a:rPr lang="en-US" sz="1100" b="1" spc="-5" dirty="0">
                  <a:solidFill>
                    <a:schemeClr val="accent6">
                      <a:lumMod val="50000"/>
                    </a:schemeClr>
                  </a:solidFill>
                  <a:latin typeface="Calibri" panose="020F0502020204030204" pitchFamily="34" charset="0"/>
                </a:rPr>
                <a:t> ready to use</a:t>
              </a:r>
            </a:p>
          </p:txBody>
        </p:sp>
        <p:sp>
          <p:nvSpPr>
            <p:cNvPr id="123" name="OTLSHAPE_M_a58f29487c0343c08abcf41913e40cae_Date">
              <a:extLst>
                <a:ext uri="{FF2B5EF4-FFF2-40B4-BE49-F238E27FC236}">
                  <a16:creationId xmlns:a16="http://schemas.microsoft.com/office/drawing/2014/main" id="{558521FD-2D90-4B78-AB81-E7AC0D7FCC35}"/>
                </a:ext>
              </a:extLst>
            </p:cNvPr>
            <p:cNvSpPr txBox="1"/>
            <p:nvPr>
              <p:custDataLst>
                <p:tags r:id="rId27"/>
              </p:custDataLst>
            </p:nvPr>
          </p:nvSpPr>
          <p:spPr>
            <a:xfrm>
              <a:off x="10002829" y="1207885"/>
              <a:ext cx="716990" cy="192097"/>
            </a:xfrm>
            <a:prstGeom prst="rect">
              <a:avLst/>
            </a:prstGeom>
            <a:noFill/>
          </p:spPr>
          <p:txBody>
            <a:bodyPr vert="horz" wrap="square" lIns="0" tIns="0" rIns="0" bIns="0" rtlCol="0" anchor="ctr" anchorCtr="0">
              <a:spAutoFit/>
            </a:bodyPr>
            <a:lstStyle/>
            <a:p>
              <a:r>
                <a:rPr lang="en-US" sz="1100" spc="-6" dirty="0">
                  <a:solidFill>
                    <a:srgbClr val="7F7F7F"/>
                  </a:solidFill>
                  <a:latin typeface="Calibri" panose="020F0502020204030204" pitchFamily="34" charset="0"/>
                </a:rPr>
                <a:t>Dec 2018</a:t>
              </a:r>
            </a:p>
          </p:txBody>
        </p:sp>
        <p:sp>
          <p:nvSpPr>
            <p:cNvPr id="124" name="OTLSHAPE_M_a58f29487c0343c08abcf41913e40cae_Shape">
              <a:extLst>
                <a:ext uri="{FF2B5EF4-FFF2-40B4-BE49-F238E27FC236}">
                  <a16:creationId xmlns:a16="http://schemas.microsoft.com/office/drawing/2014/main" id="{6E9F305C-DA9C-4DDF-AC30-A3D3E5A4F9BE}"/>
                </a:ext>
              </a:extLst>
            </p:cNvPr>
            <p:cNvSpPr/>
            <p:nvPr>
              <p:custDataLst>
                <p:tags r:id="rId28"/>
              </p:custDataLst>
            </p:nvPr>
          </p:nvSpPr>
          <p:spPr>
            <a:xfrm rot="16200000">
              <a:off x="10250645" y="1499892"/>
              <a:ext cx="165100" cy="165100"/>
            </a:xfrm>
            <a:prstGeom prst="flowChartMerge">
              <a:avLst/>
            </a:prstGeom>
            <a:solidFill>
              <a:schemeClr val="accent6">
                <a:lumMod val="50000"/>
              </a:schemeClr>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grpSp>
        <p:nvGrpSpPr>
          <p:cNvPr id="125" name="Group 124">
            <a:extLst>
              <a:ext uri="{FF2B5EF4-FFF2-40B4-BE49-F238E27FC236}">
                <a16:creationId xmlns:a16="http://schemas.microsoft.com/office/drawing/2014/main" id="{6C55505D-D030-4C1B-9075-98E0BC7F20AC}"/>
              </a:ext>
            </a:extLst>
          </p:cNvPr>
          <p:cNvGrpSpPr/>
          <p:nvPr/>
        </p:nvGrpSpPr>
        <p:grpSpPr>
          <a:xfrm>
            <a:off x="8202953" y="1859530"/>
            <a:ext cx="730959" cy="795938"/>
            <a:chOff x="5662241" y="1840868"/>
            <a:chExt cx="730959" cy="795938"/>
          </a:xfrm>
        </p:grpSpPr>
        <p:grpSp>
          <p:nvGrpSpPr>
            <p:cNvPr id="126" name="Group 125">
              <a:extLst>
                <a:ext uri="{FF2B5EF4-FFF2-40B4-BE49-F238E27FC236}">
                  <a16:creationId xmlns:a16="http://schemas.microsoft.com/office/drawing/2014/main" id="{3789330B-818A-49B7-9B8A-2AC3B0CA48CF}"/>
                </a:ext>
              </a:extLst>
            </p:cNvPr>
            <p:cNvGrpSpPr/>
            <p:nvPr/>
          </p:nvGrpSpPr>
          <p:grpSpPr>
            <a:xfrm>
              <a:off x="5662241" y="1840868"/>
              <a:ext cx="730959" cy="507982"/>
              <a:chOff x="8465293" y="1681210"/>
              <a:chExt cx="858583" cy="576462"/>
            </a:xfrm>
          </p:grpSpPr>
          <p:sp>
            <p:nvSpPr>
              <p:cNvPr id="128" name="OTLSHAPE_M_7f583de0854a4cacb89837f3a379bb4a_Title">
                <a:extLst>
                  <a:ext uri="{FF2B5EF4-FFF2-40B4-BE49-F238E27FC236}">
                    <a16:creationId xmlns:a16="http://schemas.microsoft.com/office/drawing/2014/main" id="{E2F534F7-870C-444E-958D-44F5F7772662}"/>
                  </a:ext>
                </a:extLst>
              </p:cNvPr>
              <p:cNvSpPr txBox="1"/>
              <p:nvPr>
                <p:custDataLst>
                  <p:tags r:id="rId23"/>
                </p:custDataLst>
              </p:nvPr>
            </p:nvSpPr>
            <p:spPr>
              <a:xfrm>
                <a:off x="8465293" y="1681210"/>
                <a:ext cx="858583" cy="384194"/>
              </a:xfrm>
              <a:prstGeom prst="rect">
                <a:avLst/>
              </a:prstGeom>
              <a:noFill/>
            </p:spPr>
            <p:txBody>
              <a:bodyPr vert="horz" wrap="square" lIns="0" tIns="0" rIns="0" bIns="0" rtlCol="0" anchor="ctr" anchorCtr="0">
                <a:spAutoFit/>
              </a:bodyPr>
              <a:lstStyle/>
              <a:p>
                <a:pPr algn="ctr"/>
                <a:r>
                  <a:rPr lang="en-US" sz="1100" b="1" spc="-5" dirty="0">
                    <a:solidFill>
                      <a:srgbClr val="56181E"/>
                    </a:solidFill>
                    <a:latin typeface="Calibri" panose="020F0502020204030204" pitchFamily="34" charset="0"/>
                  </a:rPr>
                  <a:t>Queue</a:t>
                </a:r>
                <a:br>
                  <a:rPr lang="en-US" sz="1100" b="1" spc="-5" dirty="0">
                    <a:solidFill>
                      <a:srgbClr val="56181E"/>
                    </a:solidFill>
                    <a:latin typeface="Calibri" panose="020F0502020204030204" pitchFamily="34" charset="0"/>
                  </a:rPr>
                </a:br>
                <a:r>
                  <a:rPr lang="en-US" sz="1100" b="1" spc="-5" dirty="0">
                    <a:solidFill>
                      <a:srgbClr val="56181E"/>
                    </a:solidFill>
                    <a:latin typeface="Calibri" panose="020F0502020204030204" pitchFamily="34" charset="0"/>
                  </a:rPr>
                  <a:t>module</a:t>
                </a:r>
              </a:p>
            </p:txBody>
          </p:sp>
          <p:sp>
            <p:nvSpPr>
              <p:cNvPr id="129" name="OTLSHAPE_M_7f583de0854a4cacb89837f3a379bb4a_Date">
                <a:extLst>
                  <a:ext uri="{FF2B5EF4-FFF2-40B4-BE49-F238E27FC236}">
                    <a16:creationId xmlns:a16="http://schemas.microsoft.com/office/drawing/2014/main" id="{E1CEB3B5-48CE-4237-B43D-23920D39D241}"/>
                  </a:ext>
                </a:extLst>
              </p:cNvPr>
              <p:cNvSpPr txBox="1"/>
              <p:nvPr>
                <p:custDataLst>
                  <p:tags r:id="rId24"/>
                </p:custDataLst>
              </p:nvPr>
            </p:nvSpPr>
            <p:spPr>
              <a:xfrm>
                <a:off x="8525312" y="2065575"/>
                <a:ext cx="724256" cy="192097"/>
              </a:xfrm>
              <a:prstGeom prst="rect">
                <a:avLst/>
              </a:prstGeom>
              <a:noFill/>
            </p:spPr>
            <p:txBody>
              <a:bodyPr vert="horz" wrap="square" lIns="0" tIns="0" rIns="0" bIns="0" rtlCol="0" anchor="ctr" anchorCtr="0">
                <a:spAutoFit/>
              </a:bodyPr>
              <a:lstStyle/>
              <a:p>
                <a:pPr algn="ctr"/>
                <a:r>
                  <a:rPr lang="en-US" sz="1100" spc="-5" dirty="0">
                    <a:solidFill>
                      <a:srgbClr val="7F7F7F"/>
                    </a:solidFill>
                    <a:latin typeface="Calibri" panose="020F0502020204030204" pitchFamily="34" charset="0"/>
                  </a:rPr>
                  <a:t>Nov 2018</a:t>
                </a:r>
              </a:p>
            </p:txBody>
          </p:sp>
        </p:grpSp>
        <p:sp>
          <p:nvSpPr>
            <p:cNvPr id="127" name="OTLSHAPE_M_a54bc827b05146d18b559f618723e2b4_Shape">
              <a:extLst>
                <a:ext uri="{FF2B5EF4-FFF2-40B4-BE49-F238E27FC236}">
                  <a16:creationId xmlns:a16="http://schemas.microsoft.com/office/drawing/2014/main" id="{ECD30BD0-9A01-41C1-BAA2-69DEAC25656B}"/>
                </a:ext>
              </a:extLst>
            </p:cNvPr>
            <p:cNvSpPr/>
            <p:nvPr>
              <p:custDataLst>
                <p:tags r:id="rId22"/>
              </p:custDataLst>
            </p:nvPr>
          </p:nvSpPr>
          <p:spPr>
            <a:xfrm>
              <a:off x="5910541" y="2412980"/>
              <a:ext cx="194619" cy="223826"/>
            </a:xfrm>
            <a:prstGeom prst="teardrop">
              <a:avLst/>
            </a:prstGeom>
            <a:solidFill>
              <a:srgbClr val="612429"/>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spTree>
    <p:extLst>
      <p:ext uri="{BB962C8B-B14F-4D97-AF65-F5344CB8AC3E}">
        <p14:creationId xmlns:p14="http://schemas.microsoft.com/office/powerpoint/2010/main" val="2939108189"/>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spcAft>
                <a:spcPts val="1200"/>
              </a:spcAft>
            </a:pPr>
            <a:r>
              <a:rPr lang="en-US" sz="2500" b="1" dirty="0"/>
              <a:t>E2E Test Framework modules</a:t>
            </a:r>
          </a:p>
        </p:txBody>
      </p:sp>
      <p:grpSp>
        <p:nvGrpSpPr>
          <p:cNvPr id="26" name="Group 25"/>
          <p:cNvGrpSpPr/>
          <p:nvPr/>
        </p:nvGrpSpPr>
        <p:grpSpPr>
          <a:xfrm>
            <a:off x="695400" y="1366825"/>
            <a:ext cx="11224983" cy="4464620"/>
            <a:chOff x="855237" y="1628750"/>
            <a:chExt cx="7837156" cy="3816530"/>
          </a:xfrm>
        </p:grpSpPr>
        <p:graphicFrame>
          <p:nvGraphicFramePr>
            <p:cNvPr id="5" name="Diagram 4"/>
            <p:cNvGraphicFramePr/>
            <p:nvPr>
              <p:extLst>
                <p:ext uri="{D42A27DB-BD31-4B8C-83A1-F6EECF244321}">
                  <p14:modId xmlns:p14="http://schemas.microsoft.com/office/powerpoint/2010/main" val="3372424947"/>
                </p:ext>
              </p:extLst>
            </p:nvPr>
          </p:nvGraphicFramePr>
          <p:xfrm>
            <a:off x="2211493" y="1632272"/>
            <a:ext cx="6480900" cy="37755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Diagram 7"/>
            <p:cNvGraphicFramePr/>
            <p:nvPr>
              <p:extLst/>
            </p:nvPr>
          </p:nvGraphicFramePr>
          <p:xfrm>
            <a:off x="855237" y="1628750"/>
            <a:ext cx="2324561" cy="381653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sp>
        <p:nvSpPr>
          <p:cNvPr id="25" name="Rectangle 24"/>
          <p:cNvSpPr/>
          <p:nvPr/>
        </p:nvSpPr>
        <p:spPr>
          <a:xfrm>
            <a:off x="8904390" y="6093370"/>
            <a:ext cx="2433680" cy="230832"/>
          </a:xfrm>
          <a:prstGeom prst="rect">
            <a:avLst/>
          </a:prstGeom>
        </p:spPr>
        <p:txBody>
          <a:bodyPr wrap="none">
            <a:spAutoFit/>
          </a:bodyPr>
          <a:lstStyle/>
          <a:p>
            <a:pPr>
              <a:lnSpc>
                <a:spcPct val="90000"/>
              </a:lnSpc>
            </a:pPr>
            <a:r>
              <a:rPr lang="en-US" sz="1000" dirty="0"/>
              <a:t>*  - task not started, to be defined</a:t>
            </a:r>
          </a:p>
        </p:txBody>
      </p:sp>
    </p:spTree>
    <p:extLst>
      <p:ext uri="{BB962C8B-B14F-4D97-AF65-F5344CB8AC3E}">
        <p14:creationId xmlns:p14="http://schemas.microsoft.com/office/powerpoint/2010/main" val="7595174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9806923-8582-4914-AB3D-507F96A10F95}"/>
              </a:ext>
            </a:extLst>
          </p:cNvPr>
          <p:cNvPicPr>
            <a:picLocks noChangeAspect="1"/>
          </p:cNvPicPr>
          <p:nvPr/>
        </p:nvPicPr>
        <p:blipFill>
          <a:blip r:embed="rId3"/>
          <a:stretch>
            <a:fillRect/>
          </a:stretch>
        </p:blipFill>
        <p:spPr>
          <a:xfrm>
            <a:off x="6744072" y="-1178"/>
            <a:ext cx="4856030" cy="6836875"/>
          </a:xfrm>
          <a:prstGeom prst="rect">
            <a:avLst/>
          </a:prstGeom>
        </p:spPr>
      </p:pic>
      <p:sp>
        <p:nvSpPr>
          <p:cNvPr id="3" name="TextBox 2">
            <a:extLst>
              <a:ext uri="{FF2B5EF4-FFF2-40B4-BE49-F238E27FC236}">
                <a16:creationId xmlns:a16="http://schemas.microsoft.com/office/drawing/2014/main" id="{F6118DB6-0682-42F0-AE6B-B8CAC92D43F7}"/>
              </a:ext>
            </a:extLst>
          </p:cNvPr>
          <p:cNvSpPr txBox="1"/>
          <p:nvPr/>
        </p:nvSpPr>
        <p:spPr>
          <a:xfrm>
            <a:off x="1487488" y="620688"/>
            <a:ext cx="3475631" cy="6020110"/>
          </a:xfrm>
          <a:prstGeom prst="rect">
            <a:avLst/>
          </a:prstGeom>
          <a:noFill/>
        </p:spPr>
        <p:txBody>
          <a:bodyPr wrap="none" rtlCol="0">
            <a:spAutoFit/>
          </a:bodyPr>
          <a:lstStyle/>
          <a:p>
            <a:pPr algn="ctr">
              <a:lnSpc>
                <a:spcPct val="90000"/>
              </a:lnSpc>
            </a:pPr>
            <a:r>
              <a:rPr lang="pl-PL" sz="16600" dirty="0"/>
              <a:t>2</a:t>
            </a:r>
            <a:endParaRPr lang="de-DE" sz="16600" dirty="0"/>
          </a:p>
          <a:p>
            <a:pPr algn="ctr">
              <a:lnSpc>
                <a:spcPct val="90000"/>
              </a:lnSpc>
            </a:pPr>
            <a:r>
              <a:rPr lang="pl-PL" sz="9600" dirty="0"/>
              <a:t>out of </a:t>
            </a:r>
            <a:endParaRPr lang="de-DE" sz="9600" dirty="0"/>
          </a:p>
          <a:p>
            <a:pPr algn="ctr">
              <a:lnSpc>
                <a:spcPct val="90000"/>
              </a:lnSpc>
            </a:pPr>
            <a:r>
              <a:rPr lang="pl-PL" sz="16600" dirty="0"/>
              <a:t>10</a:t>
            </a:r>
            <a:endParaRPr lang="de-DE" sz="16600" dirty="0"/>
          </a:p>
        </p:txBody>
      </p:sp>
    </p:spTree>
    <p:extLst>
      <p:ext uri="{BB962C8B-B14F-4D97-AF65-F5344CB8AC3E}">
        <p14:creationId xmlns:p14="http://schemas.microsoft.com/office/powerpoint/2010/main" val="13435767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How much time do you need?</a:t>
            </a:r>
          </a:p>
        </p:txBody>
      </p:sp>
      <p:pic>
        <p:nvPicPr>
          <p:cNvPr id="2" name="Picture 1"/>
          <p:cNvPicPr>
            <a:picLocks noChangeAspect="1"/>
          </p:cNvPicPr>
          <p:nvPr/>
        </p:nvPicPr>
        <p:blipFill>
          <a:blip r:embed="rId3"/>
          <a:stretch>
            <a:fillRect/>
          </a:stretch>
        </p:blipFill>
        <p:spPr>
          <a:xfrm>
            <a:off x="256710" y="1556792"/>
            <a:ext cx="4828405" cy="4724761"/>
          </a:xfrm>
          <a:prstGeom prst="ellipse">
            <a:avLst/>
          </a:prstGeom>
          <a:ln>
            <a:noFill/>
          </a:ln>
          <a:effectLst>
            <a:softEdge rad="112500"/>
          </a:effectLst>
        </p:spPr>
      </p:pic>
      <p:sp>
        <p:nvSpPr>
          <p:cNvPr id="7" name="AutoShape 2" descr="Znalezione obrazy dla zapytania days"/>
          <p:cNvSpPr>
            <a:spLocks noChangeAspect="1" noChangeArrowheads="1"/>
          </p:cNvSpPr>
          <p:nvPr/>
        </p:nvSpPr>
        <p:spPr bwMode="auto">
          <a:xfrm>
            <a:off x="155575" y="-2879725"/>
            <a:ext cx="11430000" cy="60007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8" name="Picture 7"/>
          <p:cNvPicPr>
            <a:picLocks noChangeAspect="1"/>
          </p:cNvPicPr>
          <p:nvPr/>
        </p:nvPicPr>
        <p:blipFill>
          <a:blip r:embed="rId4"/>
          <a:stretch>
            <a:fillRect/>
          </a:stretch>
        </p:blipFill>
        <p:spPr>
          <a:xfrm>
            <a:off x="3143672" y="985729"/>
            <a:ext cx="5106698" cy="4270592"/>
          </a:xfrm>
          <a:prstGeom prst="ellipse">
            <a:avLst/>
          </a:prstGeom>
          <a:ln>
            <a:noFill/>
          </a:ln>
          <a:effectLst>
            <a:softEdge rad="112500"/>
          </a:effectLst>
        </p:spPr>
      </p:pic>
      <p:sp>
        <p:nvSpPr>
          <p:cNvPr id="9" name="Rectangle 8"/>
          <p:cNvSpPr/>
          <p:nvPr/>
        </p:nvSpPr>
        <p:spPr>
          <a:xfrm>
            <a:off x="1127448" y="2811176"/>
            <a:ext cx="2808312" cy="2215991"/>
          </a:xfrm>
          <a:prstGeom prst="rect">
            <a:avLst/>
          </a:prstGeom>
          <a:noFill/>
        </p:spPr>
        <p:txBody>
          <a:bodyPr wrap="square" lIns="91440" tIns="45720" rIns="91440" bIns="45720">
            <a:spAutoFit/>
          </a:bodyPr>
          <a:lstStyle/>
          <a:p>
            <a:pPr algn="ctr"/>
            <a:r>
              <a:rPr lang="en-US" sz="13800" b="1" dirty="0">
                <a:ln w="22225">
                  <a:solidFill>
                    <a:schemeClr val="accent2"/>
                  </a:solidFill>
                  <a:prstDash val="solid"/>
                </a:ln>
                <a:solidFill>
                  <a:schemeClr val="tx1">
                    <a:lumMod val="95000"/>
                    <a:lumOff val="5000"/>
                  </a:schemeClr>
                </a:solidFill>
              </a:rPr>
              <a:t>5</a:t>
            </a:r>
            <a:endParaRPr lang="en-US" sz="5400" b="1" cap="none" spc="0" dirty="0">
              <a:ln w="22225">
                <a:solidFill>
                  <a:schemeClr val="accent2"/>
                </a:solidFill>
                <a:prstDash val="solid"/>
              </a:ln>
              <a:solidFill>
                <a:schemeClr val="tx1">
                  <a:lumMod val="95000"/>
                  <a:lumOff val="5000"/>
                </a:schemeClr>
              </a:solidFill>
              <a:effectLst/>
            </a:endParaRPr>
          </a:p>
        </p:txBody>
      </p:sp>
      <p:sp>
        <p:nvSpPr>
          <p:cNvPr id="10" name="Rectangle 9"/>
          <p:cNvSpPr/>
          <p:nvPr/>
        </p:nvSpPr>
        <p:spPr>
          <a:xfrm>
            <a:off x="3349209" y="1451532"/>
            <a:ext cx="4594890" cy="2954655"/>
          </a:xfrm>
          <a:prstGeom prst="rect">
            <a:avLst/>
          </a:prstGeom>
          <a:noFill/>
        </p:spPr>
        <p:txBody>
          <a:bodyPr wrap="square" lIns="91440" tIns="45720" rIns="91440" bIns="45720">
            <a:spAutoFit/>
          </a:bodyPr>
          <a:lstStyle/>
          <a:p>
            <a:pPr algn="ctr"/>
            <a:r>
              <a:rPr lang="de-DE" sz="13800" b="1" dirty="0">
                <a:ln w="22225">
                  <a:solidFill>
                    <a:schemeClr val="accent2"/>
                  </a:solidFill>
                  <a:prstDash val="solid"/>
                </a:ln>
                <a:solidFill>
                  <a:schemeClr val="tx1">
                    <a:lumMod val="95000"/>
                    <a:lumOff val="5000"/>
                  </a:schemeClr>
                </a:solidFill>
              </a:rPr>
              <a:t>3 </a:t>
            </a:r>
            <a:r>
              <a:rPr lang="de-DE" sz="4800" b="1" dirty="0" err="1">
                <a:ln w="22225">
                  <a:solidFill>
                    <a:schemeClr val="accent2"/>
                  </a:solidFill>
                  <a:prstDash val="solid"/>
                </a:ln>
                <a:solidFill>
                  <a:schemeClr val="tx1">
                    <a:lumMod val="95000"/>
                    <a:lumOff val="5000"/>
                  </a:schemeClr>
                </a:solidFill>
              </a:rPr>
              <a:t>months</a:t>
            </a:r>
            <a:endParaRPr lang="en-US" sz="5400" b="1" cap="none" spc="0" dirty="0">
              <a:ln w="22225">
                <a:solidFill>
                  <a:schemeClr val="accent2"/>
                </a:solidFill>
                <a:prstDash val="solid"/>
              </a:ln>
              <a:solidFill>
                <a:schemeClr val="tx1">
                  <a:lumMod val="95000"/>
                  <a:lumOff val="5000"/>
                </a:schemeClr>
              </a:solidFill>
              <a:effectLst/>
            </a:endParaRPr>
          </a:p>
        </p:txBody>
      </p:sp>
      <p:sp>
        <p:nvSpPr>
          <p:cNvPr id="11" name="Rectangle 10"/>
          <p:cNvSpPr/>
          <p:nvPr/>
        </p:nvSpPr>
        <p:spPr>
          <a:xfrm>
            <a:off x="3935761" y="4501122"/>
            <a:ext cx="7953876" cy="1862048"/>
          </a:xfrm>
          <a:prstGeom prst="rect">
            <a:avLst/>
          </a:prstGeom>
          <a:noFill/>
        </p:spPr>
        <p:txBody>
          <a:bodyPr wrap="square" lIns="91440" tIns="45720" rIns="91440" bIns="45720">
            <a:spAutoFit/>
          </a:bodyPr>
          <a:lstStyle/>
          <a:p>
            <a:pPr algn="ctr"/>
            <a:r>
              <a:rPr lang="de-DE" sz="11500" b="1" dirty="0">
                <a:ln w="22225">
                  <a:solidFill>
                    <a:schemeClr val="accent2"/>
                  </a:solidFill>
                  <a:prstDash val="solid"/>
                </a:ln>
                <a:solidFill>
                  <a:schemeClr val="tx1">
                    <a:lumMod val="95000"/>
                    <a:lumOff val="5000"/>
                  </a:schemeClr>
                </a:solidFill>
              </a:rPr>
              <a:t>170 000$</a:t>
            </a:r>
            <a:endParaRPr lang="en-US" sz="4800" b="1" cap="none" spc="0" dirty="0">
              <a:ln w="22225">
                <a:solidFill>
                  <a:schemeClr val="accent2"/>
                </a:solidFill>
                <a:prstDash val="solid"/>
              </a:ln>
              <a:solidFill>
                <a:schemeClr val="tx1">
                  <a:lumMod val="95000"/>
                  <a:lumOff val="5000"/>
                </a:schemeClr>
              </a:solidFill>
              <a:effectLst/>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5" name="Picture 2" descr="http://landoflegendslv.com/01library/05research/01con/01WH15th/Columbus/images/SantaMaria001.jpg"/>
          <p:cNvPicPr>
            <a:picLocks noGrp="1" noChangeAspect="1" noChangeArrowheads="1"/>
          </p:cNvPicPr>
          <p:nvPr>
            <p:ph sz="quarter" idx="4294967295"/>
          </p:nvPr>
        </p:nvPicPr>
        <p:blipFill>
          <a:blip r:embed="rId3"/>
          <a:srcRect/>
          <a:stretch>
            <a:fillRect/>
          </a:stretch>
        </p:blipFill>
        <p:spPr bwMode="auto">
          <a:xfrm>
            <a:off x="407368" y="548680"/>
            <a:ext cx="7936985" cy="5400600"/>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grpSp>
        <p:nvGrpSpPr>
          <p:cNvPr id="16" name="Group 33">
            <a:extLst>
              <a:ext uri="{FF2B5EF4-FFF2-40B4-BE49-F238E27FC236}">
                <a16:creationId xmlns:a16="http://schemas.microsoft.com/office/drawing/2014/main" id="{8DBD9692-94C9-44B3-B520-D68930BBEEF9}"/>
              </a:ext>
            </a:extLst>
          </p:cNvPr>
          <p:cNvGrpSpPr/>
          <p:nvPr/>
        </p:nvGrpSpPr>
        <p:grpSpPr>
          <a:xfrm>
            <a:off x="8976320" y="0"/>
            <a:ext cx="2880400" cy="2717800"/>
            <a:chOff x="6753206" y="3235076"/>
            <a:chExt cx="2880400" cy="2717800"/>
          </a:xfrm>
        </p:grpSpPr>
        <p:graphicFrame>
          <p:nvGraphicFramePr>
            <p:cNvPr id="17" name="Diagram 16">
              <a:extLst>
                <a:ext uri="{FF2B5EF4-FFF2-40B4-BE49-F238E27FC236}">
                  <a16:creationId xmlns:a16="http://schemas.microsoft.com/office/drawing/2014/main" id="{FD0D65BD-5148-4261-B3A8-0DACA21EAB3B}"/>
                </a:ext>
              </a:extLst>
            </p:cNvPr>
            <p:cNvGraphicFramePr/>
            <p:nvPr>
              <p:extLst>
                <p:ext uri="{D42A27DB-BD31-4B8C-83A1-F6EECF244321}">
                  <p14:modId xmlns:p14="http://schemas.microsoft.com/office/powerpoint/2010/main" val="1548560514"/>
                </p:ext>
              </p:extLst>
            </p:nvPr>
          </p:nvGraphicFramePr>
          <p:xfrm>
            <a:off x="6753206" y="3486713"/>
            <a:ext cx="2880400" cy="237633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18" name="Group 32">
              <a:extLst>
                <a:ext uri="{FF2B5EF4-FFF2-40B4-BE49-F238E27FC236}">
                  <a16:creationId xmlns:a16="http://schemas.microsoft.com/office/drawing/2014/main" id="{863C44AE-DF51-4770-B37E-C2F4220104AD}"/>
                </a:ext>
              </a:extLst>
            </p:cNvPr>
            <p:cNvGrpSpPr/>
            <p:nvPr/>
          </p:nvGrpSpPr>
          <p:grpSpPr>
            <a:xfrm>
              <a:off x="6808135" y="3235076"/>
              <a:ext cx="566088" cy="2717800"/>
              <a:chOff x="6955074" y="3090315"/>
              <a:chExt cx="566088" cy="2717800"/>
            </a:xfrm>
          </p:grpSpPr>
          <p:sp>
            <p:nvSpPr>
              <p:cNvPr id="19" name="Right Arrow 42">
                <a:extLst>
                  <a:ext uri="{FF2B5EF4-FFF2-40B4-BE49-F238E27FC236}">
                    <a16:creationId xmlns:a16="http://schemas.microsoft.com/office/drawing/2014/main" id="{C0F754EA-EF9E-467C-B6CE-95F836E57E5C}"/>
                  </a:ext>
                </a:extLst>
              </p:cNvPr>
              <p:cNvSpPr/>
              <p:nvPr/>
            </p:nvSpPr>
            <p:spPr>
              <a:xfrm rot="7351886">
                <a:off x="6389860" y="4375334"/>
                <a:ext cx="2026359" cy="236245"/>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20" name="TextBox 19">
                <a:extLst>
                  <a:ext uri="{FF2B5EF4-FFF2-40B4-BE49-F238E27FC236}">
                    <a16:creationId xmlns:a16="http://schemas.microsoft.com/office/drawing/2014/main" id="{63F84F5B-4057-457B-B59C-871DBF552CDE}"/>
                  </a:ext>
                </a:extLst>
              </p:cNvPr>
              <p:cNvSpPr txBox="1"/>
              <p:nvPr/>
            </p:nvSpPr>
            <p:spPr>
              <a:xfrm rot="18163968">
                <a:off x="5796229" y="4249160"/>
                <a:ext cx="2717800" cy="400110"/>
              </a:xfrm>
              <a:prstGeom prst="rect">
                <a:avLst/>
              </a:prstGeom>
              <a:noFill/>
            </p:spPr>
            <p:txBody>
              <a:bodyPr wrap="square" rtlCol="0">
                <a:spAutoFit/>
              </a:bodyPr>
              <a:lstStyle/>
              <a:p>
                <a:pPr algn="ctr"/>
                <a:r>
                  <a:rPr lang="en-US" sz="2000" dirty="0"/>
                  <a:t>DevOps</a:t>
                </a:r>
              </a:p>
            </p:txBody>
          </p:sp>
        </p:grpSp>
      </p:grpSp>
      <p:pic>
        <p:nvPicPr>
          <p:cNvPr id="21" name="Picture 2" descr="Znalezione obrazy dla zapytania git logo">
            <a:extLst>
              <a:ext uri="{FF2B5EF4-FFF2-40B4-BE49-F238E27FC236}">
                <a16:creationId xmlns:a16="http://schemas.microsoft.com/office/drawing/2014/main" id="{B1F41C4A-69F5-479E-8043-DD29E791A5C2}"/>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709581" y="2819300"/>
            <a:ext cx="1189565" cy="586827"/>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0" descr="Znalezione obrazy dla zapytania jenkins 2.0 logo">
            <a:extLst>
              <a:ext uri="{FF2B5EF4-FFF2-40B4-BE49-F238E27FC236}">
                <a16:creationId xmlns:a16="http://schemas.microsoft.com/office/drawing/2014/main" id="{35EC4998-75A2-49FE-86E2-1387CE4FC2EA}"/>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012433" y="3943478"/>
            <a:ext cx="1498313" cy="56925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0" descr="Podobny obraz">
            <a:extLst>
              <a:ext uri="{FF2B5EF4-FFF2-40B4-BE49-F238E27FC236}">
                <a16:creationId xmlns:a16="http://schemas.microsoft.com/office/drawing/2014/main" id="{8F1EF2CA-E93A-40CB-97D1-D93068F9D438}"/>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939545" y="2868203"/>
            <a:ext cx="892121" cy="1053904"/>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2" descr="Podobny obraz">
            <a:extLst>
              <a:ext uri="{FF2B5EF4-FFF2-40B4-BE49-F238E27FC236}">
                <a16:creationId xmlns:a16="http://schemas.microsoft.com/office/drawing/2014/main" id="{14E1DB9A-95A3-4EA2-A4E5-4C7976A0BBD6}"/>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654823" y="3593882"/>
            <a:ext cx="1648781" cy="51257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descr="Znalezione obrazy dla zapytania nexus artifactory logo">
            <a:extLst>
              <a:ext uri="{FF2B5EF4-FFF2-40B4-BE49-F238E27FC236}">
                <a16:creationId xmlns:a16="http://schemas.microsoft.com/office/drawing/2014/main" id="{1820D80A-D9ED-4471-B23A-EDF20AA609E6}"/>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023322" y="4733114"/>
            <a:ext cx="1593945" cy="627668"/>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30" descr="Znalezione obrazy dla zapytania aws logo">
            <a:extLst>
              <a:ext uri="{FF2B5EF4-FFF2-40B4-BE49-F238E27FC236}">
                <a16:creationId xmlns:a16="http://schemas.microsoft.com/office/drawing/2014/main" id="{AB527199-616F-45B6-9DEE-E6734FDB7590}"/>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831666" y="2754377"/>
            <a:ext cx="1117455" cy="496362"/>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36" descr="Znalezione obrazy dla zapytania oracle sql logo">
            <a:extLst>
              <a:ext uri="{FF2B5EF4-FFF2-40B4-BE49-F238E27FC236}">
                <a16:creationId xmlns:a16="http://schemas.microsoft.com/office/drawing/2014/main" id="{705BDF70-58E9-485A-8539-A38EAA9A78E1}"/>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0488488" y="5940220"/>
            <a:ext cx="1496770" cy="58512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6" descr="Podobny obraz">
            <a:extLst>
              <a:ext uri="{FF2B5EF4-FFF2-40B4-BE49-F238E27FC236}">
                <a16:creationId xmlns:a16="http://schemas.microsoft.com/office/drawing/2014/main" id="{413FEFFD-B51F-4F1E-979D-656AC29A9D7E}"/>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0404438" y="5288748"/>
            <a:ext cx="772822" cy="48374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8" descr="Znalezione obrazy dla zapytania sonar static logo">
            <a:extLst>
              <a:ext uri="{FF2B5EF4-FFF2-40B4-BE49-F238E27FC236}">
                <a16:creationId xmlns:a16="http://schemas.microsoft.com/office/drawing/2014/main" id="{B87B1BE0-5A97-4388-8C5F-6E26815C601E}"/>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256061" y="5856964"/>
            <a:ext cx="1956588" cy="56180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52" descr="Znalezione obrazy dla zapytania maven logo">
            <a:extLst>
              <a:ext uri="{FF2B5EF4-FFF2-40B4-BE49-F238E27FC236}">
                <a16:creationId xmlns:a16="http://schemas.microsoft.com/office/drawing/2014/main" id="{4235B029-75FF-4055-B882-321EDF4A957F}"/>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919108" y="5354951"/>
            <a:ext cx="1397317" cy="41753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54" descr="Znalezione obrazy dla zapytania ant logo">
            <a:extLst>
              <a:ext uri="{FF2B5EF4-FFF2-40B4-BE49-F238E27FC236}">
                <a16:creationId xmlns:a16="http://schemas.microsoft.com/office/drawing/2014/main" id="{CA7CC40C-861D-4A6A-9FE2-3FE4A0DEC6BA}"/>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802339" y="4185928"/>
            <a:ext cx="924485" cy="67603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Znalezione obrazy dla zapytania jmeter logo">
            <a:extLst>
              <a:ext uri="{FF2B5EF4-FFF2-40B4-BE49-F238E27FC236}">
                <a16:creationId xmlns:a16="http://schemas.microsoft.com/office/drawing/2014/main" id="{6F461A71-39D2-44C2-943C-99882ADF0CB0}"/>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0505561" y="4432347"/>
            <a:ext cx="1479604" cy="80673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Znalezione obrazy dla zapytania selenium logo">
            <a:extLst>
              <a:ext uri="{FF2B5EF4-FFF2-40B4-BE49-F238E27FC236}">
                <a16:creationId xmlns:a16="http://schemas.microsoft.com/office/drawing/2014/main" id="{6600C815-F461-4D3D-8310-05CCB53A7151}"/>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1365998" y="3406127"/>
            <a:ext cx="631282" cy="674919"/>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6" descr="Znalezione obrazy dla zapytania testng logo">
            <a:extLst>
              <a:ext uri="{FF2B5EF4-FFF2-40B4-BE49-F238E27FC236}">
                <a16:creationId xmlns:a16="http://schemas.microsoft.com/office/drawing/2014/main" id="{2BBE3E85-809C-435C-9A2F-60FB2F20F603}"/>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1530608" y="4948468"/>
            <a:ext cx="571076" cy="8567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86281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b="1" dirty="0"/>
              <a:t>Where we all are</a:t>
            </a:r>
            <a:endParaRPr lang="en-US" dirty="0"/>
          </a:p>
        </p:txBody>
      </p:sp>
      <p:graphicFrame>
        <p:nvGraphicFramePr>
          <p:cNvPr id="6" name="Diagram 5"/>
          <p:cNvGraphicFramePr/>
          <p:nvPr>
            <p:extLst>
              <p:ext uri="{D42A27DB-BD31-4B8C-83A1-F6EECF244321}">
                <p14:modId xmlns:p14="http://schemas.microsoft.com/office/powerpoint/2010/main" val="657296962"/>
              </p:ext>
            </p:extLst>
          </p:nvPr>
        </p:nvGraphicFramePr>
        <p:xfrm>
          <a:off x="623392" y="1988799"/>
          <a:ext cx="6336880" cy="34875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4" descr="Podobny obraz"/>
          <p:cNvPicPr>
            <a:picLocks noChangeAspect="1" noChangeArrowheads="1"/>
          </p:cNvPicPr>
          <p:nvPr/>
        </p:nvPicPr>
        <p:blipFill>
          <a:blip r:embed="rId8"/>
          <a:srcRect/>
          <a:stretch>
            <a:fillRect/>
          </a:stretch>
        </p:blipFill>
        <p:spPr bwMode="auto">
          <a:xfrm>
            <a:off x="6600056" y="1896362"/>
            <a:ext cx="3672408" cy="3672408"/>
          </a:xfrm>
          <a:prstGeom prst="rect">
            <a:avLst/>
          </a:prstGeom>
          <a:noFill/>
        </p:spPr>
      </p:pic>
    </p:spTree>
    <p:extLst>
      <p:ext uri="{BB962C8B-B14F-4D97-AF65-F5344CB8AC3E}">
        <p14:creationId xmlns:p14="http://schemas.microsoft.com/office/powerpoint/2010/main" val="1509893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351584" y="2492896"/>
            <a:ext cx="7398171" cy="1440160"/>
          </a:xfrm>
        </p:spPr>
        <p:txBody>
          <a:bodyPr>
            <a:noAutofit/>
          </a:bodyPr>
          <a:lstStyle/>
          <a:p>
            <a:r>
              <a:rPr lang="de-DE" sz="11500" dirty="0"/>
              <a:t>E2E     UI</a:t>
            </a:r>
            <a:endParaRPr lang="en-US" sz="11500" dirty="0"/>
          </a:p>
        </p:txBody>
      </p:sp>
      <p:sp>
        <p:nvSpPr>
          <p:cNvPr id="6" name="Not Equal 5"/>
          <p:cNvSpPr/>
          <p:nvPr/>
        </p:nvSpPr>
        <p:spPr>
          <a:xfrm>
            <a:off x="5519936" y="2528900"/>
            <a:ext cx="1944217" cy="1404156"/>
          </a:xfrm>
          <a:prstGeom prst="mathNotEqual">
            <a:avLst/>
          </a:prstGeom>
          <a:solidFill>
            <a:schemeClr val="accent4"/>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sp>
        <p:nvSpPr>
          <p:cNvPr id="9" name="AutoShape 4" descr="Znalezione obrazy dla zapytania no problem!"/>
          <p:cNvSpPr>
            <a:spLocks noChangeAspect="1" noChangeArrowheads="1"/>
          </p:cNvSpPr>
          <p:nvPr/>
        </p:nvSpPr>
        <p:spPr bwMode="auto">
          <a:xfrm>
            <a:off x="155575" y="-2506663"/>
            <a:ext cx="7620000" cy="522922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7466632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spcAft>
                <a:spcPts val="1200"/>
              </a:spcAft>
            </a:pPr>
            <a:r>
              <a:rPr lang="en-US" sz="2500" b="1" dirty="0"/>
              <a:t>E2E Test Framework modules</a:t>
            </a:r>
          </a:p>
        </p:txBody>
      </p:sp>
      <p:grpSp>
        <p:nvGrpSpPr>
          <p:cNvPr id="26" name="Group 25"/>
          <p:cNvGrpSpPr/>
          <p:nvPr/>
        </p:nvGrpSpPr>
        <p:grpSpPr>
          <a:xfrm>
            <a:off x="695400" y="1366825"/>
            <a:ext cx="11224983" cy="4464620"/>
            <a:chOff x="855237" y="1628750"/>
            <a:chExt cx="7837156" cy="3816530"/>
          </a:xfrm>
        </p:grpSpPr>
        <p:graphicFrame>
          <p:nvGraphicFramePr>
            <p:cNvPr id="5" name="Diagram 4"/>
            <p:cNvGraphicFramePr/>
            <p:nvPr>
              <p:extLst>
                <p:ext uri="{D42A27DB-BD31-4B8C-83A1-F6EECF244321}">
                  <p14:modId xmlns:p14="http://schemas.microsoft.com/office/powerpoint/2010/main" val="456475299"/>
                </p:ext>
              </p:extLst>
            </p:nvPr>
          </p:nvGraphicFramePr>
          <p:xfrm>
            <a:off x="2211493" y="1632272"/>
            <a:ext cx="6480900" cy="37755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Diagram 7"/>
            <p:cNvGraphicFramePr/>
            <p:nvPr>
              <p:extLst>
                <p:ext uri="{D42A27DB-BD31-4B8C-83A1-F6EECF244321}">
                  <p14:modId xmlns:p14="http://schemas.microsoft.com/office/powerpoint/2010/main" val="2264543551"/>
                </p:ext>
              </p:extLst>
            </p:nvPr>
          </p:nvGraphicFramePr>
          <p:xfrm>
            <a:off x="855237" y="1628750"/>
            <a:ext cx="2324561" cy="381653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sp>
        <p:nvSpPr>
          <p:cNvPr id="25" name="Rectangle 24"/>
          <p:cNvSpPr/>
          <p:nvPr/>
        </p:nvSpPr>
        <p:spPr>
          <a:xfrm>
            <a:off x="8904390" y="6093370"/>
            <a:ext cx="2433680" cy="230832"/>
          </a:xfrm>
          <a:prstGeom prst="rect">
            <a:avLst/>
          </a:prstGeom>
        </p:spPr>
        <p:txBody>
          <a:bodyPr wrap="none">
            <a:spAutoFit/>
          </a:bodyPr>
          <a:lstStyle/>
          <a:p>
            <a:pPr>
              <a:lnSpc>
                <a:spcPct val="90000"/>
              </a:lnSpc>
            </a:pPr>
            <a:r>
              <a:rPr lang="en-US" sz="1000" dirty="0"/>
              <a:t>*  - task not started, to be defined</a:t>
            </a:r>
          </a:p>
        </p:txBody>
      </p:sp>
    </p:spTree>
    <p:extLst>
      <p:ext uri="{BB962C8B-B14F-4D97-AF65-F5344CB8AC3E}">
        <p14:creationId xmlns:p14="http://schemas.microsoft.com/office/powerpoint/2010/main" val="4493875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e do it faster and better</a:t>
            </a:r>
          </a:p>
        </p:txBody>
      </p:sp>
      <p:graphicFrame>
        <p:nvGraphicFramePr>
          <p:cNvPr id="2" name="Diagram 1"/>
          <p:cNvGraphicFramePr/>
          <p:nvPr>
            <p:extLst>
              <p:ext uri="{D42A27DB-BD31-4B8C-83A1-F6EECF244321}">
                <p14:modId xmlns:p14="http://schemas.microsoft.com/office/powerpoint/2010/main" val="3925058667"/>
              </p:ext>
            </p:extLst>
          </p:nvPr>
        </p:nvGraphicFramePr>
        <p:xfrm>
          <a:off x="731404" y="242581"/>
          <a:ext cx="10729192"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ounded Rectangle 2"/>
          <p:cNvSpPr/>
          <p:nvPr/>
        </p:nvSpPr>
        <p:spPr>
          <a:xfrm>
            <a:off x="7264685" y="4073531"/>
            <a:ext cx="4104456" cy="915993"/>
          </a:xfrm>
          <a:prstGeom prst="round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de-DE" sz="4400" dirty="0">
                <a:solidFill>
                  <a:srgbClr val="FFFF00"/>
                </a:solidFill>
              </a:rPr>
              <a:t>DEMO</a:t>
            </a:r>
            <a:endParaRPr lang="en-US" sz="1600" dirty="0">
              <a:solidFill>
                <a:srgbClr val="FFFF00"/>
              </a:solidFill>
            </a:endParaRPr>
          </a:p>
        </p:txBody>
      </p:sp>
      <p:sp>
        <p:nvSpPr>
          <p:cNvPr id="5" name="Down Arrow 4"/>
          <p:cNvSpPr/>
          <p:nvPr/>
        </p:nvSpPr>
        <p:spPr>
          <a:xfrm rot="1299443">
            <a:off x="6846108" y="2532690"/>
            <a:ext cx="504056" cy="142982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Diagram 5">
            <a:extLst>
              <a:ext uri="{FF2B5EF4-FFF2-40B4-BE49-F238E27FC236}">
                <a16:creationId xmlns:a16="http://schemas.microsoft.com/office/drawing/2014/main" id="{4B242AA9-F7B6-462E-8C03-8A419F11A7BF}"/>
              </a:ext>
            </a:extLst>
          </p:cNvPr>
          <p:cNvGraphicFramePr/>
          <p:nvPr>
            <p:extLst>
              <p:ext uri="{D42A27DB-BD31-4B8C-83A1-F6EECF244321}">
                <p14:modId xmlns:p14="http://schemas.microsoft.com/office/powerpoint/2010/main" val="3850875068"/>
              </p:ext>
            </p:extLst>
          </p:nvPr>
        </p:nvGraphicFramePr>
        <p:xfrm>
          <a:off x="240929" y="2708920"/>
          <a:ext cx="5819069" cy="417024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pPr>
              <a:spcAft>
                <a:spcPts val="1200"/>
              </a:spcAft>
            </a:pPr>
            <a:r>
              <a:rPr lang="pl-PL" sz="2500" b="1" dirty="0"/>
              <a:t>Test </a:t>
            </a:r>
            <a:r>
              <a:rPr lang="en-US" sz="2500" b="1" dirty="0"/>
              <a:t>Core</a:t>
            </a:r>
            <a:r>
              <a:rPr lang="pl-PL" sz="2500" b="1"/>
              <a:t> Module - </a:t>
            </a:r>
            <a:r>
              <a:rPr lang="en-US" sz="2500" b="1" dirty="0"/>
              <a:t>functionality ingredients</a:t>
            </a:r>
          </a:p>
        </p:txBody>
      </p:sp>
      <p:graphicFrame>
        <p:nvGraphicFramePr>
          <p:cNvPr id="9" name="Content Placeholder 8"/>
          <p:cNvGraphicFramePr>
            <a:graphicFrameLocks noGrp="1"/>
          </p:cNvGraphicFramePr>
          <p:nvPr>
            <p:ph idx="4294967295"/>
            <p:extLst>
              <p:ext uri="{D42A27DB-BD31-4B8C-83A1-F6EECF244321}">
                <p14:modId xmlns:p14="http://schemas.microsoft.com/office/powerpoint/2010/main" val="2166847082"/>
              </p:ext>
            </p:extLst>
          </p:nvPr>
        </p:nvGraphicFramePr>
        <p:xfrm>
          <a:off x="767409" y="980728"/>
          <a:ext cx="10729191" cy="54771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83298" name="Picture 2" descr="Znalezione obrazy dla zapytania core icon"/>
          <p:cNvPicPr>
            <a:picLocks noChangeAspect="1" noChangeArrowheads="1"/>
          </p:cNvPicPr>
          <p:nvPr/>
        </p:nvPicPr>
        <p:blipFill>
          <a:blip r:embed="rId8"/>
          <a:srcRect/>
          <a:stretch>
            <a:fillRect/>
          </a:stretch>
        </p:blipFill>
        <p:spPr bwMode="auto">
          <a:xfrm>
            <a:off x="8472330" y="188550"/>
            <a:ext cx="720100" cy="720100"/>
          </a:xfrm>
          <a:prstGeom prst="rect">
            <a:avLst/>
          </a:prstGeom>
          <a:noFill/>
        </p:spPr>
      </p:pic>
      <p:pic>
        <p:nvPicPr>
          <p:cNvPr id="178178" name="Picture 2" descr="Podobny obraz"/>
          <p:cNvPicPr>
            <a:picLocks noChangeAspect="1" noChangeArrowheads="1"/>
          </p:cNvPicPr>
          <p:nvPr/>
        </p:nvPicPr>
        <p:blipFill>
          <a:blip r:embed="rId9"/>
          <a:srcRect/>
          <a:stretch>
            <a:fillRect/>
          </a:stretch>
        </p:blipFill>
        <p:spPr bwMode="auto">
          <a:xfrm>
            <a:off x="9379910" y="232010"/>
            <a:ext cx="676640" cy="676640"/>
          </a:xfrm>
          <a:prstGeom prst="rect">
            <a:avLst/>
          </a:prstGeom>
          <a:noFill/>
        </p:spPr>
      </p:pic>
      <p:pic>
        <p:nvPicPr>
          <p:cNvPr id="8" name="Picture 4" descr="Znalezione obrazy dla zapytania java"/>
          <p:cNvPicPr>
            <a:picLocks noChangeAspect="1" noChangeArrowheads="1"/>
          </p:cNvPicPr>
          <p:nvPr/>
        </p:nvPicPr>
        <p:blipFill>
          <a:blip r:embed="rId10"/>
          <a:srcRect/>
          <a:stretch>
            <a:fillRect/>
          </a:stretch>
        </p:blipFill>
        <p:spPr bwMode="auto">
          <a:xfrm>
            <a:off x="10000230" y="116540"/>
            <a:ext cx="776420" cy="776420"/>
          </a:xfrm>
          <a:prstGeom prst="rect">
            <a:avLst/>
          </a:prstGeom>
          <a:noFill/>
        </p:spPr>
      </p:pic>
    </p:spTree>
    <p:extLst>
      <p:ext uri="{BB962C8B-B14F-4D97-AF65-F5344CB8AC3E}">
        <p14:creationId xmlns:p14="http://schemas.microsoft.com/office/powerpoint/2010/main" val="26278638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OTLMARKERSHAPE" val="OTL"/>
</p:tagLst>
</file>

<file path=ppt/tags/tag101.xml><?xml version="1.0" encoding="utf-8"?>
<p:tagLst xmlns:a="http://schemas.openxmlformats.org/drawingml/2006/main" xmlns:r="http://schemas.openxmlformats.org/officeDocument/2006/relationships" xmlns:p="http://schemas.openxmlformats.org/presentationml/2006/main">
  <p:tag name="OTLMARKERSHAPE" val="OTL"/>
</p:tagLst>
</file>

<file path=ppt/tags/tag102.xml><?xml version="1.0" encoding="utf-8"?>
<p:tagLst xmlns:a="http://schemas.openxmlformats.org/drawingml/2006/main" xmlns:r="http://schemas.openxmlformats.org/officeDocument/2006/relationships" xmlns:p="http://schemas.openxmlformats.org/presentationml/2006/main">
  <p:tag name="OTLMARKERSHAPE" val="OTL"/>
</p:tagLst>
</file>

<file path=ppt/tags/tag103.xml><?xml version="1.0" encoding="utf-8"?>
<p:tagLst xmlns:a="http://schemas.openxmlformats.org/drawingml/2006/main" xmlns:r="http://schemas.openxmlformats.org/officeDocument/2006/relationships" xmlns:p="http://schemas.openxmlformats.org/presentationml/2006/main">
  <p:tag name="OTLMARKERSHAPE" val="OTL"/>
</p:tagLst>
</file>

<file path=ppt/tags/tag104.xml><?xml version="1.0" encoding="utf-8"?>
<p:tagLst xmlns:a="http://schemas.openxmlformats.org/drawingml/2006/main" xmlns:r="http://schemas.openxmlformats.org/officeDocument/2006/relationships" xmlns:p="http://schemas.openxmlformats.org/presentationml/2006/main">
  <p:tag name="OTLMARKERSHAPE" val="OTL"/>
</p:tagLst>
</file>

<file path=ppt/tags/tag105.xml><?xml version="1.0" encoding="utf-8"?>
<p:tagLst xmlns:a="http://schemas.openxmlformats.org/drawingml/2006/main" xmlns:r="http://schemas.openxmlformats.org/officeDocument/2006/relationships" xmlns:p="http://schemas.openxmlformats.org/presentationml/2006/main">
  <p:tag name="OTLMARKERSHAPE" val="OTL"/>
</p:tagLst>
</file>

<file path=ppt/tags/tag106.xml><?xml version="1.0" encoding="utf-8"?>
<p:tagLst xmlns:a="http://schemas.openxmlformats.org/drawingml/2006/main" xmlns:r="http://schemas.openxmlformats.org/officeDocument/2006/relationships" xmlns:p="http://schemas.openxmlformats.org/presentationml/2006/main">
  <p:tag name="OTLMARKERSHAPE" val="OTL"/>
</p:tagLst>
</file>

<file path=ppt/tags/tag107.xml><?xml version="1.0" encoding="utf-8"?>
<p:tagLst xmlns:a="http://schemas.openxmlformats.org/drawingml/2006/main" xmlns:r="http://schemas.openxmlformats.org/officeDocument/2006/relationships" xmlns:p="http://schemas.openxmlformats.org/presentationml/2006/main">
  <p:tag name="OTLMARKERSHAPE" val="OTL"/>
</p:tagLst>
</file>

<file path=ppt/tags/tag108.xml><?xml version="1.0" encoding="utf-8"?>
<p:tagLst xmlns:a="http://schemas.openxmlformats.org/drawingml/2006/main" xmlns:r="http://schemas.openxmlformats.org/officeDocument/2006/relationships" xmlns:p="http://schemas.openxmlformats.org/presentationml/2006/main">
  <p:tag name="OTLMARKERSHAPE" val="OTL"/>
</p:tagLst>
</file>

<file path=ppt/tags/tag109.xml><?xml version="1.0" encoding="utf-8"?>
<p:tagLst xmlns:a="http://schemas.openxmlformats.org/drawingml/2006/main" xmlns:r="http://schemas.openxmlformats.org/officeDocument/2006/relationships" xmlns:p="http://schemas.openxmlformats.org/presentationml/2006/main">
  <p:tag name="OTLMARKERSHAPE" val="OTL"/>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OTLMARKERSHAPE" val="OTL"/>
</p:tagLst>
</file>

<file path=ppt/tags/tag111.xml><?xml version="1.0" encoding="utf-8"?>
<p:tagLst xmlns:a="http://schemas.openxmlformats.org/drawingml/2006/main" xmlns:r="http://schemas.openxmlformats.org/officeDocument/2006/relationships" xmlns:p="http://schemas.openxmlformats.org/presentationml/2006/main">
  <p:tag name="OTLMARKERSHAPE" val="OTL"/>
</p:tagLst>
</file>

<file path=ppt/tags/tag112.xml><?xml version="1.0" encoding="utf-8"?>
<p:tagLst xmlns:a="http://schemas.openxmlformats.org/drawingml/2006/main" xmlns:r="http://schemas.openxmlformats.org/officeDocument/2006/relationships" xmlns:p="http://schemas.openxmlformats.org/presentationml/2006/main">
  <p:tag name="OTLMARKERSHAPE" val="OTL"/>
</p:tagLst>
</file>

<file path=ppt/tags/tag113.xml><?xml version="1.0" encoding="utf-8"?>
<p:tagLst xmlns:a="http://schemas.openxmlformats.org/drawingml/2006/main" xmlns:r="http://schemas.openxmlformats.org/officeDocument/2006/relationships" xmlns:p="http://schemas.openxmlformats.org/presentationml/2006/main">
  <p:tag name="OTLMARKERSHAPE" val="OTL"/>
</p:tagLst>
</file>

<file path=ppt/tags/tag114.xml><?xml version="1.0" encoding="utf-8"?>
<p:tagLst xmlns:a="http://schemas.openxmlformats.org/drawingml/2006/main" xmlns:r="http://schemas.openxmlformats.org/officeDocument/2006/relationships" xmlns:p="http://schemas.openxmlformats.org/presentationml/2006/main">
  <p:tag name="OTLMARKERSHAPE" val="OTL"/>
</p:tagLst>
</file>

<file path=ppt/tags/tag115.xml><?xml version="1.0" encoding="utf-8"?>
<p:tagLst xmlns:a="http://schemas.openxmlformats.org/drawingml/2006/main" xmlns:r="http://schemas.openxmlformats.org/officeDocument/2006/relationships" xmlns:p="http://schemas.openxmlformats.org/presentationml/2006/main">
  <p:tag name="OTLMARKERSHAPE" val="OTL"/>
</p:tagLst>
</file>

<file path=ppt/tags/tag116.xml><?xml version="1.0" encoding="utf-8"?>
<p:tagLst xmlns:a="http://schemas.openxmlformats.org/drawingml/2006/main" xmlns:r="http://schemas.openxmlformats.org/officeDocument/2006/relationships" xmlns:p="http://schemas.openxmlformats.org/presentationml/2006/main">
  <p:tag name="OTLMARKERSHAPE" val="OTL"/>
</p:tagLst>
</file>

<file path=ppt/tags/tag117.xml><?xml version="1.0" encoding="utf-8"?>
<p:tagLst xmlns:a="http://schemas.openxmlformats.org/drawingml/2006/main" xmlns:r="http://schemas.openxmlformats.org/officeDocument/2006/relationships" xmlns:p="http://schemas.openxmlformats.org/presentationml/2006/main">
  <p:tag name="OTLMARKERSHAPE" val="OTL"/>
</p:tagLst>
</file>

<file path=ppt/tags/tag118.xml><?xml version="1.0" encoding="utf-8"?>
<p:tagLst xmlns:a="http://schemas.openxmlformats.org/drawingml/2006/main" xmlns:r="http://schemas.openxmlformats.org/officeDocument/2006/relationships" xmlns:p="http://schemas.openxmlformats.org/presentationml/2006/main">
  <p:tag name="OTLMARKERSHAPE" val="OTL"/>
</p:tagLst>
</file>

<file path=ppt/tags/tag119.xml><?xml version="1.0" encoding="utf-8"?>
<p:tagLst xmlns:a="http://schemas.openxmlformats.org/drawingml/2006/main" xmlns:r="http://schemas.openxmlformats.org/officeDocument/2006/relationships" xmlns:p="http://schemas.openxmlformats.org/presentationml/2006/main">
  <p:tag name="OTLMARKERSHAPE" val="OTL"/>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OTLMARKERSHAPE" val="OTL"/>
</p:tagLst>
</file>

<file path=ppt/tags/tag121.xml><?xml version="1.0" encoding="utf-8"?>
<p:tagLst xmlns:a="http://schemas.openxmlformats.org/drawingml/2006/main" xmlns:r="http://schemas.openxmlformats.org/officeDocument/2006/relationships" xmlns:p="http://schemas.openxmlformats.org/presentationml/2006/main">
  <p:tag name="OTLMARKERSHAPE" val="OTL"/>
</p:tagLst>
</file>

<file path=ppt/tags/tag122.xml><?xml version="1.0" encoding="utf-8"?>
<p:tagLst xmlns:a="http://schemas.openxmlformats.org/drawingml/2006/main" xmlns:r="http://schemas.openxmlformats.org/officeDocument/2006/relationships" xmlns:p="http://schemas.openxmlformats.org/presentationml/2006/main">
  <p:tag name="OTLMARKERSHAPE" val="OTL"/>
</p:tagLst>
</file>

<file path=ppt/tags/tag123.xml><?xml version="1.0" encoding="utf-8"?>
<p:tagLst xmlns:a="http://schemas.openxmlformats.org/drawingml/2006/main" xmlns:r="http://schemas.openxmlformats.org/officeDocument/2006/relationships" xmlns:p="http://schemas.openxmlformats.org/presentationml/2006/main">
  <p:tag name="OTLMARKERSHAPE" val="OTL"/>
</p:tagLst>
</file>

<file path=ppt/tags/tag124.xml><?xml version="1.0" encoding="utf-8"?>
<p:tagLst xmlns:a="http://schemas.openxmlformats.org/drawingml/2006/main" xmlns:r="http://schemas.openxmlformats.org/officeDocument/2006/relationships" xmlns:p="http://schemas.openxmlformats.org/presentationml/2006/main">
  <p:tag name="OTLMARKERSHAPE" val="OTL"/>
</p:tagLst>
</file>

<file path=ppt/tags/tag125.xml><?xml version="1.0" encoding="utf-8"?>
<p:tagLst xmlns:a="http://schemas.openxmlformats.org/drawingml/2006/main" xmlns:r="http://schemas.openxmlformats.org/officeDocument/2006/relationships" xmlns:p="http://schemas.openxmlformats.org/presentationml/2006/main">
  <p:tag name="OTLMARKERSHAPE" val="OTL"/>
</p:tagLst>
</file>

<file path=ppt/tags/tag126.xml><?xml version="1.0" encoding="utf-8"?>
<p:tagLst xmlns:a="http://schemas.openxmlformats.org/drawingml/2006/main" xmlns:r="http://schemas.openxmlformats.org/officeDocument/2006/relationships" xmlns:p="http://schemas.openxmlformats.org/presentationml/2006/main">
  <p:tag name="OTLMARKERSHAPE" val="OTL"/>
</p:tagLst>
</file>

<file path=ppt/tags/tag127.xml><?xml version="1.0" encoding="utf-8"?>
<p:tagLst xmlns:a="http://schemas.openxmlformats.org/drawingml/2006/main" xmlns:r="http://schemas.openxmlformats.org/officeDocument/2006/relationships" xmlns:p="http://schemas.openxmlformats.org/presentationml/2006/main">
  <p:tag name="OTLMARKERSHAPE" val="OTL"/>
</p:tagLst>
</file>

<file path=ppt/tags/tag128.xml><?xml version="1.0" encoding="utf-8"?>
<p:tagLst xmlns:a="http://schemas.openxmlformats.org/drawingml/2006/main" xmlns:r="http://schemas.openxmlformats.org/officeDocument/2006/relationships" xmlns:p="http://schemas.openxmlformats.org/presentationml/2006/main">
  <p:tag name="OTLMARKERSHAPE" val="OTL"/>
</p:tagLst>
</file>

<file path=ppt/tags/tag129.xml><?xml version="1.0" encoding="utf-8"?>
<p:tagLst xmlns:a="http://schemas.openxmlformats.org/drawingml/2006/main" xmlns:r="http://schemas.openxmlformats.org/officeDocument/2006/relationships" xmlns:p="http://schemas.openxmlformats.org/presentationml/2006/main">
  <p:tag name="OTLMARKERSHAPE" val="OTL"/>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OTLMARKERSHAPE" val="OTL"/>
</p:tagLst>
</file>

<file path=ppt/tags/tag131.xml><?xml version="1.0" encoding="utf-8"?>
<p:tagLst xmlns:a="http://schemas.openxmlformats.org/drawingml/2006/main" xmlns:r="http://schemas.openxmlformats.org/officeDocument/2006/relationships" xmlns:p="http://schemas.openxmlformats.org/presentationml/2006/main">
  <p:tag name="OTLMARKERSHAPE" val="OTL"/>
</p:tagLst>
</file>

<file path=ppt/tags/tag132.xml><?xml version="1.0" encoding="utf-8"?>
<p:tagLst xmlns:a="http://schemas.openxmlformats.org/drawingml/2006/main" xmlns:r="http://schemas.openxmlformats.org/officeDocument/2006/relationships" xmlns:p="http://schemas.openxmlformats.org/presentationml/2006/main">
  <p:tag name="OTLMARKERSHAPE" val="OTL"/>
</p:tagLst>
</file>

<file path=ppt/tags/tag133.xml><?xml version="1.0" encoding="utf-8"?>
<p:tagLst xmlns:a="http://schemas.openxmlformats.org/drawingml/2006/main" xmlns:r="http://schemas.openxmlformats.org/officeDocument/2006/relationships" xmlns:p="http://schemas.openxmlformats.org/presentationml/2006/main">
  <p:tag name="OTLMARKERSHAPE" val="OTL"/>
</p:tagLst>
</file>

<file path=ppt/tags/tag134.xml><?xml version="1.0" encoding="utf-8"?>
<p:tagLst xmlns:a="http://schemas.openxmlformats.org/drawingml/2006/main" xmlns:r="http://schemas.openxmlformats.org/officeDocument/2006/relationships" xmlns:p="http://schemas.openxmlformats.org/presentationml/2006/main">
  <p:tag name="OTLMARKERSHAPE" val="OTL"/>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DT0JJmjVk6lxcVGuUit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uqR1X3BrwU.VSG31sSn7O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F7E4_bT50q5umNJBv1k_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OTLMARKERSHAPE" val="OTL"/>
</p:tagLst>
</file>

<file path=ppt/tags/tag54.xml><?xml version="1.0" encoding="utf-8"?>
<p:tagLst xmlns:a="http://schemas.openxmlformats.org/drawingml/2006/main" xmlns:r="http://schemas.openxmlformats.org/officeDocument/2006/relationships" xmlns:p="http://schemas.openxmlformats.org/presentationml/2006/main">
  <p:tag name="OTLMARKERSHAPE" val="OTL"/>
</p:tagLst>
</file>

<file path=ppt/tags/tag55.xml><?xml version="1.0" encoding="utf-8"?>
<p:tagLst xmlns:a="http://schemas.openxmlformats.org/drawingml/2006/main" xmlns:r="http://schemas.openxmlformats.org/officeDocument/2006/relationships" xmlns:p="http://schemas.openxmlformats.org/presentationml/2006/main">
  <p:tag name="OTLMARKERSHAPE" val="OTL"/>
</p:tagLst>
</file>

<file path=ppt/tags/tag56.xml><?xml version="1.0" encoding="utf-8"?>
<p:tagLst xmlns:a="http://schemas.openxmlformats.org/drawingml/2006/main" xmlns:r="http://schemas.openxmlformats.org/officeDocument/2006/relationships" xmlns:p="http://schemas.openxmlformats.org/presentationml/2006/main">
  <p:tag name="OTLMARKERSHAPE" val="OTL"/>
</p:tagLst>
</file>

<file path=ppt/tags/tag57.xml><?xml version="1.0" encoding="utf-8"?>
<p:tagLst xmlns:a="http://schemas.openxmlformats.org/drawingml/2006/main" xmlns:r="http://schemas.openxmlformats.org/officeDocument/2006/relationships" xmlns:p="http://schemas.openxmlformats.org/presentationml/2006/main">
  <p:tag name="OTLMARKERSHAPE" val="OTL"/>
</p:tagLst>
</file>

<file path=ppt/tags/tag58.xml><?xml version="1.0" encoding="utf-8"?>
<p:tagLst xmlns:a="http://schemas.openxmlformats.org/drawingml/2006/main" xmlns:r="http://schemas.openxmlformats.org/officeDocument/2006/relationships" xmlns:p="http://schemas.openxmlformats.org/presentationml/2006/main">
  <p:tag name="OTLMARKERSHAPE" val="OTL"/>
</p:tagLst>
</file>

<file path=ppt/tags/tag59.xml><?xml version="1.0" encoding="utf-8"?>
<p:tagLst xmlns:a="http://schemas.openxmlformats.org/drawingml/2006/main" xmlns:r="http://schemas.openxmlformats.org/officeDocument/2006/relationships" xmlns:p="http://schemas.openxmlformats.org/presentationml/2006/main">
  <p:tag name="OTLMARKERSHAPE" val="OTL"/>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OTLMARKERSHAPE" val="OTL"/>
</p:tagLst>
</file>

<file path=ppt/tags/tag61.xml><?xml version="1.0" encoding="utf-8"?>
<p:tagLst xmlns:a="http://schemas.openxmlformats.org/drawingml/2006/main" xmlns:r="http://schemas.openxmlformats.org/officeDocument/2006/relationships" xmlns:p="http://schemas.openxmlformats.org/presentationml/2006/main">
  <p:tag name="OTLMARKERSHAPE" val="OTL"/>
</p:tagLst>
</file>

<file path=ppt/tags/tag62.xml><?xml version="1.0" encoding="utf-8"?>
<p:tagLst xmlns:a="http://schemas.openxmlformats.org/drawingml/2006/main" xmlns:r="http://schemas.openxmlformats.org/officeDocument/2006/relationships" xmlns:p="http://schemas.openxmlformats.org/presentationml/2006/main">
  <p:tag name="OTLMARKERSHAPE" val="OTL"/>
</p:tagLst>
</file>

<file path=ppt/tags/tag63.xml><?xml version="1.0" encoding="utf-8"?>
<p:tagLst xmlns:a="http://schemas.openxmlformats.org/drawingml/2006/main" xmlns:r="http://schemas.openxmlformats.org/officeDocument/2006/relationships" xmlns:p="http://schemas.openxmlformats.org/presentationml/2006/main">
  <p:tag name="OTLMARKERSHAPE" val="OTL"/>
</p:tagLst>
</file>

<file path=ppt/tags/tag64.xml><?xml version="1.0" encoding="utf-8"?>
<p:tagLst xmlns:a="http://schemas.openxmlformats.org/drawingml/2006/main" xmlns:r="http://schemas.openxmlformats.org/officeDocument/2006/relationships" xmlns:p="http://schemas.openxmlformats.org/presentationml/2006/main">
  <p:tag name="OTLMARKERSHAPE" val="OTL"/>
</p:tagLst>
</file>

<file path=ppt/tags/tag65.xml><?xml version="1.0" encoding="utf-8"?>
<p:tagLst xmlns:a="http://schemas.openxmlformats.org/drawingml/2006/main" xmlns:r="http://schemas.openxmlformats.org/officeDocument/2006/relationships" xmlns:p="http://schemas.openxmlformats.org/presentationml/2006/main">
  <p:tag name="OTLMARKERSHAPE" val="OTL"/>
</p:tagLst>
</file>

<file path=ppt/tags/tag66.xml><?xml version="1.0" encoding="utf-8"?>
<p:tagLst xmlns:a="http://schemas.openxmlformats.org/drawingml/2006/main" xmlns:r="http://schemas.openxmlformats.org/officeDocument/2006/relationships" xmlns:p="http://schemas.openxmlformats.org/presentationml/2006/main">
  <p:tag name="OTLMARKERSHAPE" val="OTL"/>
</p:tagLst>
</file>

<file path=ppt/tags/tag67.xml><?xml version="1.0" encoding="utf-8"?>
<p:tagLst xmlns:a="http://schemas.openxmlformats.org/drawingml/2006/main" xmlns:r="http://schemas.openxmlformats.org/officeDocument/2006/relationships" xmlns:p="http://schemas.openxmlformats.org/presentationml/2006/main">
  <p:tag name="OTLMARKERSHAPE" val="OTL"/>
</p:tagLst>
</file>

<file path=ppt/tags/tag68.xml><?xml version="1.0" encoding="utf-8"?>
<p:tagLst xmlns:a="http://schemas.openxmlformats.org/drawingml/2006/main" xmlns:r="http://schemas.openxmlformats.org/officeDocument/2006/relationships" xmlns:p="http://schemas.openxmlformats.org/presentationml/2006/main">
  <p:tag name="OTLMARKERSHAPE" val="OTL"/>
</p:tagLst>
</file>

<file path=ppt/tags/tag69.xml><?xml version="1.0" encoding="utf-8"?>
<p:tagLst xmlns:a="http://schemas.openxmlformats.org/drawingml/2006/main" xmlns:r="http://schemas.openxmlformats.org/officeDocument/2006/relationships" xmlns:p="http://schemas.openxmlformats.org/presentationml/2006/main">
  <p:tag name="OTLMARKERSHAPE" val="OTL"/>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0.xml><?xml version="1.0" encoding="utf-8"?>
<p:tagLst xmlns:a="http://schemas.openxmlformats.org/drawingml/2006/main" xmlns:r="http://schemas.openxmlformats.org/officeDocument/2006/relationships" xmlns:p="http://schemas.openxmlformats.org/presentationml/2006/main">
  <p:tag name="OTLMARKERSHAPE" val="OTL"/>
</p:tagLst>
</file>

<file path=ppt/tags/tag71.xml><?xml version="1.0" encoding="utf-8"?>
<p:tagLst xmlns:a="http://schemas.openxmlformats.org/drawingml/2006/main" xmlns:r="http://schemas.openxmlformats.org/officeDocument/2006/relationships" xmlns:p="http://schemas.openxmlformats.org/presentationml/2006/main">
  <p:tag name="OTLMARKERSHAPE" val="OTL"/>
</p:tagLst>
</file>

<file path=ppt/tags/tag72.xml><?xml version="1.0" encoding="utf-8"?>
<p:tagLst xmlns:a="http://schemas.openxmlformats.org/drawingml/2006/main" xmlns:r="http://schemas.openxmlformats.org/officeDocument/2006/relationships" xmlns:p="http://schemas.openxmlformats.org/presentationml/2006/main">
  <p:tag name="OTLMARKERSHAPE" val="OTL"/>
</p:tagLst>
</file>

<file path=ppt/tags/tag73.xml><?xml version="1.0" encoding="utf-8"?>
<p:tagLst xmlns:a="http://schemas.openxmlformats.org/drawingml/2006/main" xmlns:r="http://schemas.openxmlformats.org/officeDocument/2006/relationships" xmlns:p="http://schemas.openxmlformats.org/presentationml/2006/main">
  <p:tag name="OTLMARKERSHAPE" val="OTL"/>
</p:tagLst>
</file>

<file path=ppt/tags/tag74.xml><?xml version="1.0" encoding="utf-8"?>
<p:tagLst xmlns:a="http://schemas.openxmlformats.org/drawingml/2006/main" xmlns:r="http://schemas.openxmlformats.org/officeDocument/2006/relationships" xmlns:p="http://schemas.openxmlformats.org/presentationml/2006/main">
  <p:tag name="OTLMARKERSHAPE" val="OTL"/>
</p:tagLst>
</file>

<file path=ppt/tags/tag75.xml><?xml version="1.0" encoding="utf-8"?>
<p:tagLst xmlns:a="http://schemas.openxmlformats.org/drawingml/2006/main" xmlns:r="http://schemas.openxmlformats.org/officeDocument/2006/relationships" xmlns:p="http://schemas.openxmlformats.org/presentationml/2006/main">
  <p:tag name="OTLMARKERSHAPE" val="OTL"/>
</p:tagLst>
</file>

<file path=ppt/tags/tag76.xml><?xml version="1.0" encoding="utf-8"?>
<p:tagLst xmlns:a="http://schemas.openxmlformats.org/drawingml/2006/main" xmlns:r="http://schemas.openxmlformats.org/officeDocument/2006/relationships" xmlns:p="http://schemas.openxmlformats.org/presentationml/2006/main">
  <p:tag name="OTLMARKERSHAPE" val="OTL"/>
</p:tagLst>
</file>

<file path=ppt/tags/tag77.xml><?xml version="1.0" encoding="utf-8"?>
<p:tagLst xmlns:a="http://schemas.openxmlformats.org/drawingml/2006/main" xmlns:r="http://schemas.openxmlformats.org/officeDocument/2006/relationships" xmlns:p="http://schemas.openxmlformats.org/presentationml/2006/main">
  <p:tag name="OTLMARKERSHAPE" val="OTL"/>
</p:tagLst>
</file>

<file path=ppt/tags/tag78.xml><?xml version="1.0" encoding="utf-8"?>
<p:tagLst xmlns:a="http://schemas.openxmlformats.org/drawingml/2006/main" xmlns:r="http://schemas.openxmlformats.org/officeDocument/2006/relationships" xmlns:p="http://schemas.openxmlformats.org/presentationml/2006/main">
  <p:tag name="OTLMARKERSHAPE" val="OTL"/>
</p:tagLst>
</file>

<file path=ppt/tags/tag79.xml><?xml version="1.0" encoding="utf-8"?>
<p:tagLst xmlns:a="http://schemas.openxmlformats.org/drawingml/2006/main" xmlns:r="http://schemas.openxmlformats.org/officeDocument/2006/relationships" xmlns:p="http://schemas.openxmlformats.org/presentationml/2006/main">
  <p:tag name="OTLMARKERSHAPE" val="OTL"/>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0.xml><?xml version="1.0" encoding="utf-8"?>
<p:tagLst xmlns:a="http://schemas.openxmlformats.org/drawingml/2006/main" xmlns:r="http://schemas.openxmlformats.org/officeDocument/2006/relationships" xmlns:p="http://schemas.openxmlformats.org/presentationml/2006/main">
  <p:tag name="OTLMARKERSHAPE" val="OTL"/>
</p:tagLst>
</file>

<file path=ppt/tags/tag81.xml><?xml version="1.0" encoding="utf-8"?>
<p:tagLst xmlns:a="http://schemas.openxmlformats.org/drawingml/2006/main" xmlns:r="http://schemas.openxmlformats.org/officeDocument/2006/relationships" xmlns:p="http://schemas.openxmlformats.org/presentationml/2006/main">
  <p:tag name="OTLMARKERSHAPE" val="OTL"/>
</p:tagLst>
</file>

<file path=ppt/tags/tag82.xml><?xml version="1.0" encoding="utf-8"?>
<p:tagLst xmlns:a="http://schemas.openxmlformats.org/drawingml/2006/main" xmlns:r="http://schemas.openxmlformats.org/officeDocument/2006/relationships" xmlns:p="http://schemas.openxmlformats.org/presentationml/2006/main">
  <p:tag name="OTLMARKERSHAPE" val="OTL"/>
</p:tagLst>
</file>

<file path=ppt/tags/tag83.xml><?xml version="1.0" encoding="utf-8"?>
<p:tagLst xmlns:a="http://schemas.openxmlformats.org/drawingml/2006/main" xmlns:r="http://schemas.openxmlformats.org/officeDocument/2006/relationships" xmlns:p="http://schemas.openxmlformats.org/presentationml/2006/main">
  <p:tag name="OTLMARKERSHAPE" val="OTL"/>
</p:tagLst>
</file>

<file path=ppt/tags/tag84.xml><?xml version="1.0" encoding="utf-8"?>
<p:tagLst xmlns:a="http://schemas.openxmlformats.org/drawingml/2006/main" xmlns:r="http://schemas.openxmlformats.org/officeDocument/2006/relationships" xmlns:p="http://schemas.openxmlformats.org/presentationml/2006/main">
  <p:tag name="OTLMARKERSHAPE" val="OTL"/>
</p:tagLst>
</file>

<file path=ppt/tags/tag85.xml><?xml version="1.0" encoding="utf-8"?>
<p:tagLst xmlns:a="http://schemas.openxmlformats.org/drawingml/2006/main" xmlns:r="http://schemas.openxmlformats.org/officeDocument/2006/relationships" xmlns:p="http://schemas.openxmlformats.org/presentationml/2006/main">
  <p:tag name="OTLMARKERSHAPE" val="OTL"/>
</p:tagLst>
</file>

<file path=ppt/tags/tag86.xml><?xml version="1.0" encoding="utf-8"?>
<p:tagLst xmlns:a="http://schemas.openxmlformats.org/drawingml/2006/main" xmlns:r="http://schemas.openxmlformats.org/officeDocument/2006/relationships" xmlns:p="http://schemas.openxmlformats.org/presentationml/2006/main">
  <p:tag name="OTLMARKERSHAPE" val="OTL"/>
</p:tagLst>
</file>

<file path=ppt/tags/tag87.xml><?xml version="1.0" encoding="utf-8"?>
<p:tagLst xmlns:a="http://schemas.openxmlformats.org/drawingml/2006/main" xmlns:r="http://schemas.openxmlformats.org/officeDocument/2006/relationships" xmlns:p="http://schemas.openxmlformats.org/presentationml/2006/main">
  <p:tag name="OTLMARKERSHAPE" val="OTL"/>
</p:tagLst>
</file>

<file path=ppt/tags/tag88.xml><?xml version="1.0" encoding="utf-8"?>
<p:tagLst xmlns:a="http://schemas.openxmlformats.org/drawingml/2006/main" xmlns:r="http://schemas.openxmlformats.org/officeDocument/2006/relationships" xmlns:p="http://schemas.openxmlformats.org/presentationml/2006/main">
  <p:tag name="OTLMARKERSHAPE" val="OTL"/>
</p:tagLst>
</file>

<file path=ppt/tags/tag89.xml><?xml version="1.0" encoding="utf-8"?>
<p:tagLst xmlns:a="http://schemas.openxmlformats.org/drawingml/2006/main" xmlns:r="http://schemas.openxmlformats.org/officeDocument/2006/relationships" xmlns:p="http://schemas.openxmlformats.org/presentationml/2006/main">
  <p:tag name="OTLMARKERSHAPE" val="OTL"/>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OTLMARKERSHAPE" val="OTL"/>
</p:tagLst>
</file>

<file path=ppt/tags/tag91.xml><?xml version="1.0" encoding="utf-8"?>
<p:tagLst xmlns:a="http://schemas.openxmlformats.org/drawingml/2006/main" xmlns:r="http://schemas.openxmlformats.org/officeDocument/2006/relationships" xmlns:p="http://schemas.openxmlformats.org/presentationml/2006/main">
  <p:tag name="OTLMARKERSHAPE" val="OTL"/>
</p:tagLst>
</file>

<file path=ppt/tags/tag92.xml><?xml version="1.0" encoding="utf-8"?>
<p:tagLst xmlns:a="http://schemas.openxmlformats.org/drawingml/2006/main" xmlns:r="http://schemas.openxmlformats.org/officeDocument/2006/relationships" xmlns:p="http://schemas.openxmlformats.org/presentationml/2006/main">
  <p:tag name="OTLMARKERSHAPE" val="OTL"/>
</p:tagLst>
</file>

<file path=ppt/tags/tag93.xml><?xml version="1.0" encoding="utf-8"?>
<p:tagLst xmlns:a="http://schemas.openxmlformats.org/drawingml/2006/main" xmlns:r="http://schemas.openxmlformats.org/officeDocument/2006/relationships" xmlns:p="http://schemas.openxmlformats.org/presentationml/2006/main">
  <p:tag name="OTLMARKERSHAPE" val="OTL"/>
</p:tagLst>
</file>

<file path=ppt/tags/tag94.xml><?xml version="1.0" encoding="utf-8"?>
<p:tagLst xmlns:a="http://schemas.openxmlformats.org/drawingml/2006/main" xmlns:r="http://schemas.openxmlformats.org/officeDocument/2006/relationships" xmlns:p="http://schemas.openxmlformats.org/presentationml/2006/main">
  <p:tag name="OTLMARKERSHAPE" val="OTL"/>
</p:tagLst>
</file>

<file path=ppt/tags/tag95.xml><?xml version="1.0" encoding="utf-8"?>
<p:tagLst xmlns:a="http://schemas.openxmlformats.org/drawingml/2006/main" xmlns:r="http://schemas.openxmlformats.org/officeDocument/2006/relationships" xmlns:p="http://schemas.openxmlformats.org/presentationml/2006/main">
  <p:tag name="OTLMARKERSHAPE" val="OTL"/>
</p:tagLst>
</file>

<file path=ppt/tags/tag96.xml><?xml version="1.0" encoding="utf-8"?>
<p:tagLst xmlns:a="http://schemas.openxmlformats.org/drawingml/2006/main" xmlns:r="http://schemas.openxmlformats.org/officeDocument/2006/relationships" xmlns:p="http://schemas.openxmlformats.org/presentationml/2006/main">
  <p:tag name="OTLMARKERSHAPE" val="OTL"/>
</p:tagLst>
</file>

<file path=ppt/tags/tag97.xml><?xml version="1.0" encoding="utf-8"?>
<p:tagLst xmlns:a="http://schemas.openxmlformats.org/drawingml/2006/main" xmlns:r="http://schemas.openxmlformats.org/officeDocument/2006/relationships" xmlns:p="http://schemas.openxmlformats.org/presentationml/2006/main">
  <p:tag name="OTLMARKERSHAPE" val="OTL"/>
</p:tagLst>
</file>

<file path=ppt/tags/tag98.xml><?xml version="1.0" encoding="utf-8"?>
<p:tagLst xmlns:a="http://schemas.openxmlformats.org/drawingml/2006/main" xmlns:r="http://schemas.openxmlformats.org/officeDocument/2006/relationships" xmlns:p="http://schemas.openxmlformats.org/presentationml/2006/main">
  <p:tag name="OTLMARKERSHAPE" val="OTL"/>
</p:tagLst>
</file>

<file path=ppt/tags/tag99.xml><?xml version="1.0" encoding="utf-8"?>
<p:tagLst xmlns:a="http://schemas.openxmlformats.org/drawingml/2006/main" xmlns:r="http://schemas.openxmlformats.org/officeDocument/2006/relationships" xmlns:p="http://schemas.openxmlformats.org/presentationml/2006/main">
  <p:tag name="OTLMARKERSHAPE" val="OTL"/>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6288A6B4-8D07-4938-A82F-A0093CB90658}" vid="{E773FF80-0C60-4FD3-859A-2513E72AB802}"/>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6288A6B4-8D07-4938-A82F-A0093CB90658}" vid="{01A55E89-FC83-4782-8FAE-7DDB55FEF934}"/>
    </a:ext>
  </a:extLst>
</a:theme>
</file>

<file path=ppt/theme/theme3.xml><?xml version="1.0" encoding="utf-8"?>
<a:theme xmlns:a="http://schemas.openxmlformats.org/drawingml/2006/main" name="Storyboard Layout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Blan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bg2"/>
          </a:solidFill>
        </a:ln>
      </a:spPr>
      <a:bodyPr rtlCol="0" anchor="t" anchorCtr="0"/>
      <a:lstStyle>
        <a:defPPr marL="0" defTabSz="714375" fontAlgn="base">
          <a:lnSpc>
            <a:spcPct val="90000"/>
          </a:lnSpc>
          <a:buClr>
            <a:schemeClr val="tx2"/>
          </a:buClr>
          <a:defRPr sz="1400" dirty="0" smtClean="0">
            <a:solidFill>
              <a:schemeClr val="tx1"/>
            </a:solidFill>
            <a:latin typeface="Arial"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prstDash val="soli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0000"/>
          </a:lnSpc>
          <a:defRPr sz="1400" dirty="0" smtClean="0"/>
        </a:defPPr>
      </a:lstStyle>
    </a:txDef>
  </a:objectDefaults>
  <a:extraClrScheme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Template>
  <TotalTime>0</TotalTime>
  <Words>1049</Words>
  <Application>Microsoft Office PowerPoint</Application>
  <PresentationFormat>Widescreen</PresentationFormat>
  <Paragraphs>245</Paragraphs>
  <Slides>13</Slides>
  <Notes>13</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13</vt:i4>
      </vt:variant>
    </vt:vector>
  </HeadingPairs>
  <TitlesOfParts>
    <vt:vector size="25" baseType="lpstr">
      <vt:lpstr>Arial</vt:lpstr>
      <vt:lpstr>Calibri</vt:lpstr>
      <vt:lpstr>Corbel</vt:lpstr>
      <vt:lpstr>Helvetica Light</vt:lpstr>
      <vt:lpstr>Symbol</vt:lpstr>
      <vt:lpstr>Verdana</vt:lpstr>
      <vt:lpstr>Wingdings</vt:lpstr>
      <vt:lpstr>Capgemini Master</vt:lpstr>
      <vt:lpstr>Cover options</vt:lpstr>
      <vt:lpstr>Storyboard Layouts</vt:lpstr>
      <vt:lpstr>Blank</vt:lpstr>
      <vt:lpstr>think-cell Slide</vt:lpstr>
      <vt:lpstr>Test Automation  </vt:lpstr>
      <vt:lpstr>PowerPoint Presentation</vt:lpstr>
      <vt:lpstr>How much time do you need?</vt:lpstr>
      <vt:lpstr>PowerPoint Presentation</vt:lpstr>
      <vt:lpstr>Where we all are</vt:lpstr>
      <vt:lpstr>PowerPoint Presentation</vt:lpstr>
      <vt:lpstr>E2E Test Framework modules</vt:lpstr>
      <vt:lpstr>We do it faster and better</vt:lpstr>
      <vt:lpstr>Test Core Module - functionality ingredients</vt:lpstr>
      <vt:lpstr>DevOps Module - infrastructure ingredients</vt:lpstr>
      <vt:lpstr>Key takeaways</vt:lpstr>
      <vt:lpstr>  Mr Checker E2E Framework road map</vt:lpstr>
      <vt:lpstr>E2E Test Framework modules</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y do we do it better and faster tha you?</dc:title>
  <dc:creator>Nawrot, Zaneta</dc:creator>
  <cp:lastModifiedBy>Stefaniszyn, Lukasz</cp:lastModifiedBy>
  <cp:revision>89</cp:revision>
  <dcterms:created xsi:type="dcterms:W3CDTF">2018-02-13T16:51:31Z</dcterms:created>
  <dcterms:modified xsi:type="dcterms:W3CDTF">2018-09-10T04:57:36Z</dcterms:modified>
</cp:coreProperties>
</file>